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5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5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heme/theme8.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33.xml" ContentType="application/vnd.openxmlformats-officedocument.presentationml.notesSlide+xml"/>
  <Override PartName="/ppt/tags/tag11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6.xml" ContentType="application/vnd.openxmlformats-officedocument.presentationml.notesSlide+xml"/>
  <Override PartName="/ppt/tags/tag13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64" r:id="rId3"/>
    <p:sldMasterId id="2147483783" r:id="rId4"/>
    <p:sldMasterId id="2147483802" r:id="rId5"/>
    <p:sldMasterId id="2147483821" r:id="rId6"/>
    <p:sldMasterId id="2147483840" r:id="rId7"/>
  </p:sldMasterIdLst>
  <p:notesMasterIdLst>
    <p:notesMasterId r:id="rId58"/>
  </p:notesMasterIdLst>
  <p:sldIdLst>
    <p:sldId id="261" r:id="rId8"/>
    <p:sldId id="456" r:id="rId9"/>
    <p:sldId id="422" r:id="rId10"/>
    <p:sldId id="420" r:id="rId11"/>
    <p:sldId id="461" r:id="rId12"/>
    <p:sldId id="462" r:id="rId13"/>
    <p:sldId id="463" r:id="rId14"/>
    <p:sldId id="464" r:id="rId15"/>
    <p:sldId id="465" r:id="rId16"/>
    <p:sldId id="466" r:id="rId17"/>
    <p:sldId id="468" r:id="rId18"/>
    <p:sldId id="469" r:id="rId19"/>
    <p:sldId id="470" r:id="rId20"/>
    <p:sldId id="467" r:id="rId21"/>
    <p:sldId id="474" r:id="rId22"/>
    <p:sldId id="475" r:id="rId23"/>
    <p:sldId id="476" r:id="rId24"/>
    <p:sldId id="457" r:id="rId25"/>
    <p:sldId id="477" r:id="rId26"/>
    <p:sldId id="478" r:id="rId27"/>
    <p:sldId id="479" r:id="rId28"/>
    <p:sldId id="480" r:id="rId29"/>
    <p:sldId id="481" r:id="rId30"/>
    <p:sldId id="482" r:id="rId31"/>
    <p:sldId id="483" r:id="rId32"/>
    <p:sldId id="484" r:id="rId33"/>
    <p:sldId id="485" r:id="rId34"/>
    <p:sldId id="486" r:id="rId35"/>
    <p:sldId id="487" r:id="rId36"/>
    <p:sldId id="488" r:id="rId37"/>
    <p:sldId id="489" r:id="rId38"/>
    <p:sldId id="490" r:id="rId39"/>
    <p:sldId id="491" r:id="rId40"/>
    <p:sldId id="492" r:id="rId41"/>
    <p:sldId id="493" r:id="rId42"/>
    <p:sldId id="494" r:id="rId43"/>
    <p:sldId id="496" r:id="rId44"/>
    <p:sldId id="497" r:id="rId45"/>
    <p:sldId id="458" r:id="rId46"/>
    <p:sldId id="498" r:id="rId47"/>
    <p:sldId id="500" r:id="rId48"/>
    <p:sldId id="459" r:id="rId49"/>
    <p:sldId id="501" r:id="rId50"/>
    <p:sldId id="502" r:id="rId51"/>
    <p:sldId id="503" r:id="rId52"/>
    <p:sldId id="428" r:id="rId53"/>
    <p:sldId id="504" r:id="rId54"/>
    <p:sldId id="505" r:id="rId55"/>
    <p:sldId id="506" r:id="rId56"/>
    <p:sldId id="257" r:id="rId57"/>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13" clrIdx="0"/>
  <p:cmAuthor id="1" name="Upjeet Chandan" initials="UC" lastIdx="1" clrIdx="1">
    <p:extLst>
      <p:ext uri="{19B8F6BF-5375-455C-9EA6-DF929625EA0E}">
        <p15:presenceInfo xmlns:p15="http://schemas.microsoft.com/office/powerpoint/2012/main" userId="S-1-5-21-889838981-920820592-1903951286-591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60" autoAdjust="0"/>
    <p:restoredTop sz="90139" autoAdjust="0"/>
  </p:normalViewPr>
  <p:slideViewPr>
    <p:cSldViewPr>
      <p:cViewPr varScale="1">
        <p:scale>
          <a:sx n="100" d="100"/>
          <a:sy n="100" d="100"/>
        </p:scale>
        <p:origin x="828" y="72"/>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188717-651C-7A4C-BB09-6C9B92400A25}" type="doc">
      <dgm:prSet loTypeId="urn:microsoft.com/office/officeart/2005/8/layout/vList6" loCatId="" qsTypeId="urn:microsoft.com/office/officeart/2005/8/quickstyle/simple1" qsCatId="simple" csTypeId="urn:microsoft.com/office/officeart/2005/8/colors/colorful3" csCatId="colorful" phldr="1"/>
      <dgm:spPr/>
      <dgm:t>
        <a:bodyPr/>
        <a:lstStyle/>
        <a:p>
          <a:endParaRPr lang="en-US"/>
        </a:p>
      </dgm:t>
    </dgm:pt>
    <dgm:pt modelId="{B4DB2603-06EB-BC43-B5E3-113B7C63FE26}">
      <dgm:prSet phldrT="[Text]" custT="1"/>
      <dgm:spPr/>
      <dgm:t>
        <a:bodyPr/>
        <a:lstStyle/>
        <a:p>
          <a:r>
            <a:rPr lang="en-US" sz="2800" dirty="0"/>
            <a:t>Assessment report </a:t>
          </a:r>
        </a:p>
      </dgm:t>
    </dgm:pt>
    <dgm:pt modelId="{DBBD48BD-8CF6-7047-A7DE-00D90859FAC9}" type="parTrans" cxnId="{F4BC559D-0B71-A74C-BAE2-AB153E5307A1}">
      <dgm:prSet/>
      <dgm:spPr/>
      <dgm:t>
        <a:bodyPr/>
        <a:lstStyle/>
        <a:p>
          <a:endParaRPr lang="en-US"/>
        </a:p>
      </dgm:t>
    </dgm:pt>
    <dgm:pt modelId="{D83230A6-1D16-A448-B375-45EF3CB0350C}" type="sibTrans" cxnId="{F4BC559D-0B71-A74C-BAE2-AB153E5307A1}">
      <dgm:prSet/>
      <dgm:spPr/>
      <dgm:t>
        <a:bodyPr/>
        <a:lstStyle/>
        <a:p>
          <a:endParaRPr lang="en-US"/>
        </a:p>
      </dgm:t>
    </dgm:pt>
    <dgm:pt modelId="{CC023DF6-14DF-7C40-AF7C-1C188CEFFDAF}">
      <dgm:prSet phldrT="[Text]" custT="1"/>
      <dgm:spPr/>
      <dgm:t>
        <a:bodyPr anchor="ctr"/>
        <a:lstStyle/>
        <a:p>
          <a:pPr marL="404813" indent="-239713"/>
          <a:r>
            <a:rPr lang="en-US" sz="1900" dirty="0"/>
            <a:t>Generated from POC Database on testing and error trends or equivalent report</a:t>
          </a:r>
        </a:p>
      </dgm:t>
    </dgm:pt>
    <dgm:pt modelId="{C8B42E5B-AE49-F64F-B7C8-ED431383B9E3}" type="parTrans" cxnId="{853F5118-A94C-2C4F-BED7-A01C871F0EDB}">
      <dgm:prSet/>
      <dgm:spPr/>
      <dgm:t>
        <a:bodyPr/>
        <a:lstStyle/>
        <a:p>
          <a:endParaRPr lang="en-US"/>
        </a:p>
      </dgm:t>
    </dgm:pt>
    <dgm:pt modelId="{785C02B5-BCDB-FF41-A3CD-E5C70D62B72F}" type="sibTrans" cxnId="{853F5118-A94C-2C4F-BED7-A01C871F0EDB}">
      <dgm:prSet/>
      <dgm:spPr/>
      <dgm:t>
        <a:bodyPr/>
        <a:lstStyle/>
        <a:p>
          <a:endParaRPr lang="en-US"/>
        </a:p>
      </dgm:t>
    </dgm:pt>
    <dgm:pt modelId="{50A9B0DC-C5BA-2B4D-A948-FC64826BA831}">
      <dgm:prSet phldrT="[Text]" custT="1"/>
      <dgm:spPr/>
      <dgm:t>
        <a:bodyPr/>
        <a:lstStyle/>
        <a:p>
          <a:r>
            <a:rPr lang="en-US" sz="2800" dirty="0"/>
            <a:t>Supervision</a:t>
          </a:r>
        </a:p>
      </dgm:t>
    </dgm:pt>
    <dgm:pt modelId="{7F914178-4CA2-3947-BFC6-85E6F9CB5ACF}" type="parTrans" cxnId="{8D7A4ABC-4274-CB4F-981B-9F046427EFDF}">
      <dgm:prSet/>
      <dgm:spPr/>
      <dgm:t>
        <a:bodyPr/>
        <a:lstStyle/>
        <a:p>
          <a:endParaRPr lang="en-US"/>
        </a:p>
      </dgm:t>
    </dgm:pt>
    <dgm:pt modelId="{1C12A36E-1B9A-884C-8E41-D209C2B02CD0}" type="sibTrans" cxnId="{8D7A4ABC-4274-CB4F-981B-9F046427EFDF}">
      <dgm:prSet/>
      <dgm:spPr/>
      <dgm:t>
        <a:bodyPr/>
        <a:lstStyle/>
        <a:p>
          <a:endParaRPr lang="en-US"/>
        </a:p>
      </dgm:t>
    </dgm:pt>
    <dgm:pt modelId="{744C76E1-B683-894B-8279-FB5EC246B705}">
      <dgm:prSet phldrT="[Text]" custT="1"/>
      <dgm:spPr/>
      <dgm:t>
        <a:bodyPr/>
        <a:lstStyle/>
        <a:p>
          <a:r>
            <a:rPr lang="en-US" sz="2800" dirty="0"/>
            <a:t>Mentorship</a:t>
          </a:r>
        </a:p>
      </dgm:t>
    </dgm:pt>
    <dgm:pt modelId="{03429422-3451-F749-B9B0-3B14EB292683}" type="parTrans" cxnId="{C7739978-6E5C-1B4E-A842-846AEF78A5E8}">
      <dgm:prSet/>
      <dgm:spPr/>
      <dgm:t>
        <a:bodyPr/>
        <a:lstStyle/>
        <a:p>
          <a:endParaRPr lang="en-US"/>
        </a:p>
      </dgm:t>
    </dgm:pt>
    <dgm:pt modelId="{AB24E06C-0A5D-6E45-8FCC-C7E95240908D}" type="sibTrans" cxnId="{C7739978-6E5C-1B4E-A842-846AEF78A5E8}">
      <dgm:prSet/>
      <dgm:spPr/>
      <dgm:t>
        <a:bodyPr/>
        <a:lstStyle/>
        <a:p>
          <a:endParaRPr lang="en-US"/>
        </a:p>
      </dgm:t>
    </dgm:pt>
    <dgm:pt modelId="{E12B55CC-A81E-9848-810F-52D8D10EEC2D}">
      <dgm:prSet phldrT="[Text]" custT="1"/>
      <dgm:spPr/>
      <dgm:t>
        <a:bodyPr anchor="ctr"/>
        <a:lstStyle/>
        <a:p>
          <a:pPr marL="404813" indent="-239713"/>
          <a:r>
            <a:rPr lang="en-US" sz="1900" dirty="0"/>
            <a:t>Carried out by trained lab tech as needed </a:t>
          </a:r>
        </a:p>
      </dgm:t>
    </dgm:pt>
    <dgm:pt modelId="{9A2A8BB5-7E13-EB4A-A320-3210CD8F00F4}" type="parTrans" cxnId="{9AA5AC91-C6CC-564E-B2D2-3533AFD1A00A}">
      <dgm:prSet/>
      <dgm:spPr/>
      <dgm:t>
        <a:bodyPr/>
        <a:lstStyle/>
        <a:p>
          <a:endParaRPr lang="en-US"/>
        </a:p>
      </dgm:t>
    </dgm:pt>
    <dgm:pt modelId="{C7E93D2F-F745-AF4F-B002-8207D86F20E4}" type="sibTrans" cxnId="{9AA5AC91-C6CC-564E-B2D2-3533AFD1A00A}">
      <dgm:prSet/>
      <dgm:spPr/>
      <dgm:t>
        <a:bodyPr/>
        <a:lstStyle/>
        <a:p>
          <a:endParaRPr lang="en-US"/>
        </a:p>
      </dgm:t>
    </dgm:pt>
    <dgm:pt modelId="{2806409C-1E68-F447-A5BC-389272211F51}">
      <dgm:prSet phldrT="[Text]" custT="1"/>
      <dgm:spPr/>
      <dgm:t>
        <a:bodyPr anchor="ctr"/>
        <a:lstStyle/>
        <a:p>
          <a:pPr marL="344488" indent="-223838"/>
          <a:r>
            <a:rPr lang="en-US" sz="1900" dirty="0"/>
            <a:t>Occurs every quarter or every 6 months</a:t>
          </a:r>
        </a:p>
      </dgm:t>
    </dgm:pt>
    <dgm:pt modelId="{DAB5C924-6C42-DC4A-9478-BD5DD1C5850C}" type="parTrans" cxnId="{CA29B4F0-87CF-4847-8FDD-8804010B3BF1}">
      <dgm:prSet/>
      <dgm:spPr/>
      <dgm:t>
        <a:bodyPr/>
        <a:lstStyle/>
        <a:p>
          <a:endParaRPr lang="en-US"/>
        </a:p>
      </dgm:t>
    </dgm:pt>
    <dgm:pt modelId="{77BB7D64-08B1-0940-97A6-B3DBBF7BD3E2}" type="sibTrans" cxnId="{CA29B4F0-87CF-4847-8FDD-8804010B3BF1}">
      <dgm:prSet/>
      <dgm:spPr/>
      <dgm:t>
        <a:bodyPr/>
        <a:lstStyle/>
        <a:p>
          <a:endParaRPr lang="en-US"/>
        </a:p>
      </dgm:t>
    </dgm:pt>
    <dgm:pt modelId="{51915B3B-B581-2446-9F55-E53BA9B95637}">
      <dgm:prSet phldrT="[Text]" custT="1"/>
      <dgm:spPr/>
      <dgm:t>
        <a:bodyPr anchor="ctr"/>
        <a:lstStyle/>
        <a:p>
          <a:pPr marL="404813" indent="-239713"/>
          <a:r>
            <a:rPr lang="en-US" sz="1900" dirty="0"/>
            <a:t>Based on the supervision/data report findings and EQA performance </a:t>
          </a:r>
        </a:p>
      </dgm:t>
    </dgm:pt>
    <dgm:pt modelId="{303E4515-380B-4441-8BE6-C1CA08E58896}" type="parTrans" cxnId="{36532A43-992F-1641-BF53-8C2F4992223D}">
      <dgm:prSet/>
      <dgm:spPr/>
      <dgm:t>
        <a:bodyPr/>
        <a:lstStyle/>
        <a:p>
          <a:endParaRPr lang="en-US"/>
        </a:p>
      </dgm:t>
    </dgm:pt>
    <dgm:pt modelId="{222DF643-2179-EE40-81B5-3BC1E1DD3A27}" type="sibTrans" cxnId="{36532A43-992F-1641-BF53-8C2F4992223D}">
      <dgm:prSet/>
      <dgm:spPr/>
      <dgm:t>
        <a:bodyPr/>
        <a:lstStyle/>
        <a:p>
          <a:endParaRPr lang="en-US"/>
        </a:p>
      </dgm:t>
    </dgm:pt>
    <dgm:pt modelId="{E68191CF-5A27-1849-B87A-6A633AFAF443}">
      <dgm:prSet phldrT="[Text]" custT="1"/>
      <dgm:spPr/>
      <dgm:t>
        <a:bodyPr anchor="ctr"/>
        <a:lstStyle/>
        <a:p>
          <a:pPr marL="404813" indent="-239713"/>
          <a:r>
            <a:rPr lang="en-US" sz="1900" dirty="0"/>
            <a:t>To be used during site supervision </a:t>
          </a:r>
        </a:p>
      </dgm:t>
    </dgm:pt>
    <dgm:pt modelId="{635B35B8-7879-0443-9478-6912BB7642FA}" type="parTrans" cxnId="{2970FD74-186F-A14F-8B18-859F516559D2}">
      <dgm:prSet/>
      <dgm:spPr/>
      <dgm:t>
        <a:bodyPr/>
        <a:lstStyle/>
        <a:p>
          <a:endParaRPr lang="en-US"/>
        </a:p>
      </dgm:t>
    </dgm:pt>
    <dgm:pt modelId="{9E0182C8-61B4-8947-85E9-8A715C16EE42}" type="sibTrans" cxnId="{2970FD74-186F-A14F-8B18-859F516559D2}">
      <dgm:prSet/>
      <dgm:spPr/>
      <dgm:t>
        <a:bodyPr/>
        <a:lstStyle/>
        <a:p>
          <a:endParaRPr lang="en-US"/>
        </a:p>
      </dgm:t>
    </dgm:pt>
    <dgm:pt modelId="{493A645A-573E-4683-8FAF-65412E00C415}">
      <dgm:prSet phldrT="[Text]" custT="1"/>
      <dgm:spPr/>
      <dgm:t>
        <a:bodyPr anchor="ctr"/>
        <a:lstStyle/>
        <a:p>
          <a:pPr marL="344488" indent="-223838"/>
          <a:r>
            <a:rPr lang="en-US" sz="1900" dirty="0"/>
            <a:t>Carried out by trained lab tech/lab coordinator using the POC supervision and mentorship checklist </a:t>
          </a:r>
        </a:p>
      </dgm:t>
    </dgm:pt>
    <dgm:pt modelId="{5A3DED99-1C1F-412E-A504-FE65E9A5D837}" type="parTrans" cxnId="{444FFF00-2E08-4C0C-94A1-885F07F73331}">
      <dgm:prSet/>
      <dgm:spPr/>
      <dgm:t>
        <a:bodyPr/>
        <a:lstStyle/>
        <a:p>
          <a:endParaRPr lang="en-US"/>
        </a:p>
      </dgm:t>
    </dgm:pt>
    <dgm:pt modelId="{16B29C57-E1F8-4E5A-8958-B361F04AAF1D}" type="sibTrans" cxnId="{444FFF00-2E08-4C0C-94A1-885F07F73331}">
      <dgm:prSet/>
      <dgm:spPr/>
      <dgm:t>
        <a:bodyPr/>
        <a:lstStyle/>
        <a:p>
          <a:endParaRPr lang="en-US"/>
        </a:p>
      </dgm:t>
    </dgm:pt>
    <dgm:pt modelId="{0987FB08-3B7C-2B4E-97E3-51F034E5A9BF}" type="pres">
      <dgm:prSet presAssocID="{44188717-651C-7A4C-BB09-6C9B92400A25}" presName="Name0" presStyleCnt="0">
        <dgm:presLayoutVars>
          <dgm:dir/>
          <dgm:animLvl val="lvl"/>
          <dgm:resizeHandles/>
        </dgm:presLayoutVars>
      </dgm:prSet>
      <dgm:spPr/>
    </dgm:pt>
    <dgm:pt modelId="{155E9076-455B-6E47-BFC2-5FCAEF988A61}" type="pres">
      <dgm:prSet presAssocID="{B4DB2603-06EB-BC43-B5E3-113B7C63FE26}" presName="linNode" presStyleCnt="0"/>
      <dgm:spPr/>
    </dgm:pt>
    <dgm:pt modelId="{2945DFF1-DE96-2649-8A65-C84603BAD08A}" type="pres">
      <dgm:prSet presAssocID="{B4DB2603-06EB-BC43-B5E3-113B7C63FE26}" presName="parentShp" presStyleLbl="node1" presStyleIdx="0" presStyleCnt="3" custScaleX="79981" custScaleY="103490" custLinFactNeighborX="-1110" custLinFactNeighborY="7122">
        <dgm:presLayoutVars>
          <dgm:bulletEnabled val="1"/>
        </dgm:presLayoutVars>
      </dgm:prSet>
      <dgm:spPr/>
    </dgm:pt>
    <dgm:pt modelId="{BE79E152-FBA1-0144-8C0A-25B3D2344064}" type="pres">
      <dgm:prSet presAssocID="{B4DB2603-06EB-BC43-B5E3-113B7C63FE26}" presName="childShp" presStyleLbl="bgAccFollowNode1" presStyleIdx="0" presStyleCnt="3" custScaleY="117785" custLinFactNeighborX="-3969" custLinFactNeighborY="7122">
        <dgm:presLayoutVars>
          <dgm:bulletEnabled val="1"/>
        </dgm:presLayoutVars>
      </dgm:prSet>
      <dgm:spPr/>
    </dgm:pt>
    <dgm:pt modelId="{CE52E2CA-3A08-A046-8393-DCABF7E3F7D7}" type="pres">
      <dgm:prSet presAssocID="{D83230A6-1D16-A448-B375-45EF3CB0350C}" presName="spacing" presStyleCnt="0"/>
      <dgm:spPr/>
    </dgm:pt>
    <dgm:pt modelId="{C5B39C92-200F-8A4F-8752-EBD7EED04A60}" type="pres">
      <dgm:prSet presAssocID="{50A9B0DC-C5BA-2B4D-A948-FC64826BA831}" presName="linNode" presStyleCnt="0"/>
      <dgm:spPr/>
    </dgm:pt>
    <dgm:pt modelId="{EC7F0F0A-AA98-4447-888F-D2E23E047BEE}" type="pres">
      <dgm:prSet presAssocID="{50A9B0DC-C5BA-2B4D-A948-FC64826BA831}" presName="parentShp" presStyleLbl="node1" presStyleIdx="1" presStyleCnt="3" custScaleX="79981" custScaleY="104462" custLinFactNeighborX="263" custLinFactNeighborY="5843">
        <dgm:presLayoutVars>
          <dgm:bulletEnabled val="1"/>
        </dgm:presLayoutVars>
      </dgm:prSet>
      <dgm:spPr/>
    </dgm:pt>
    <dgm:pt modelId="{CD0E241C-A098-7649-A9B9-BEA138B0DE55}" type="pres">
      <dgm:prSet presAssocID="{50A9B0DC-C5BA-2B4D-A948-FC64826BA831}" presName="childShp" presStyleLbl="bgAccFollowNode1" presStyleIdx="1" presStyleCnt="3" custScaleX="104395" custScaleY="116835" custLinFactNeighborX="-1272" custLinFactNeighborY="5843">
        <dgm:presLayoutVars>
          <dgm:bulletEnabled val="1"/>
        </dgm:presLayoutVars>
      </dgm:prSet>
      <dgm:spPr/>
    </dgm:pt>
    <dgm:pt modelId="{7A4A77E3-9CD1-4B4F-8D60-0E25C3AF699D}" type="pres">
      <dgm:prSet presAssocID="{1C12A36E-1B9A-884C-8E41-D209C2B02CD0}" presName="spacing" presStyleCnt="0"/>
      <dgm:spPr/>
    </dgm:pt>
    <dgm:pt modelId="{00B37192-C26D-A344-B6BC-32120844613C}" type="pres">
      <dgm:prSet presAssocID="{744C76E1-B683-894B-8279-FB5EC246B705}" presName="linNode" presStyleCnt="0"/>
      <dgm:spPr/>
    </dgm:pt>
    <dgm:pt modelId="{67CA51E0-260C-C242-9B1C-7D9C7D519312}" type="pres">
      <dgm:prSet presAssocID="{744C76E1-B683-894B-8279-FB5EC246B705}" presName="parentShp" presStyleLbl="node1" presStyleIdx="2" presStyleCnt="3" custScaleX="79981" custScaleY="104462" custLinFactNeighborX="-2621" custLinFactNeighborY="725">
        <dgm:presLayoutVars>
          <dgm:bulletEnabled val="1"/>
        </dgm:presLayoutVars>
      </dgm:prSet>
      <dgm:spPr/>
    </dgm:pt>
    <dgm:pt modelId="{D588161C-31D3-264A-8269-A02D7607EA54}" type="pres">
      <dgm:prSet presAssocID="{744C76E1-B683-894B-8279-FB5EC246B705}" presName="childShp" presStyleLbl="bgAccFollowNode1" presStyleIdx="2" presStyleCnt="3" custScaleY="120213" custLinFactNeighborX="-5599" custLinFactNeighborY="248">
        <dgm:presLayoutVars>
          <dgm:bulletEnabled val="1"/>
        </dgm:presLayoutVars>
      </dgm:prSet>
      <dgm:spPr/>
    </dgm:pt>
  </dgm:ptLst>
  <dgm:cxnLst>
    <dgm:cxn modelId="{29648400-2014-4093-BB3B-F1F50BB7A4F0}" type="presOf" srcId="{E68191CF-5A27-1849-B87A-6A633AFAF443}" destId="{BE79E152-FBA1-0144-8C0A-25B3D2344064}" srcOrd="0" destOrd="1" presId="urn:microsoft.com/office/officeart/2005/8/layout/vList6"/>
    <dgm:cxn modelId="{444FFF00-2E08-4C0C-94A1-885F07F73331}" srcId="{50A9B0DC-C5BA-2B4D-A948-FC64826BA831}" destId="{493A645A-573E-4683-8FAF-65412E00C415}" srcOrd="0" destOrd="0" parTransId="{5A3DED99-1C1F-412E-A504-FE65E9A5D837}" sibTransId="{16B29C57-E1F8-4E5A-8958-B361F04AAF1D}"/>
    <dgm:cxn modelId="{D5072C0D-C459-4D76-8EC1-8198AD9BCF4C}" type="presOf" srcId="{CC023DF6-14DF-7C40-AF7C-1C188CEFFDAF}" destId="{BE79E152-FBA1-0144-8C0A-25B3D2344064}" srcOrd="0" destOrd="0" presId="urn:microsoft.com/office/officeart/2005/8/layout/vList6"/>
    <dgm:cxn modelId="{853F5118-A94C-2C4F-BED7-A01C871F0EDB}" srcId="{B4DB2603-06EB-BC43-B5E3-113B7C63FE26}" destId="{CC023DF6-14DF-7C40-AF7C-1C188CEFFDAF}" srcOrd="0" destOrd="0" parTransId="{C8B42E5B-AE49-F64F-B7C8-ED431383B9E3}" sibTransId="{785C02B5-BCDB-FF41-A3CD-E5C70D62B72F}"/>
    <dgm:cxn modelId="{07B2961C-946A-4469-9F20-44665BFB9918}" type="presOf" srcId="{744C76E1-B683-894B-8279-FB5EC246B705}" destId="{67CA51E0-260C-C242-9B1C-7D9C7D519312}" srcOrd="0" destOrd="0" presId="urn:microsoft.com/office/officeart/2005/8/layout/vList6"/>
    <dgm:cxn modelId="{CBEFD83F-555F-4941-9BC3-1B52C03F4695}" type="presOf" srcId="{493A645A-573E-4683-8FAF-65412E00C415}" destId="{CD0E241C-A098-7649-A9B9-BEA138B0DE55}" srcOrd="0" destOrd="0" presId="urn:microsoft.com/office/officeart/2005/8/layout/vList6"/>
    <dgm:cxn modelId="{36532A43-992F-1641-BF53-8C2F4992223D}" srcId="{744C76E1-B683-894B-8279-FB5EC246B705}" destId="{51915B3B-B581-2446-9F55-E53BA9B95637}" srcOrd="1" destOrd="0" parTransId="{303E4515-380B-4441-8BE6-C1CA08E58896}" sibTransId="{222DF643-2179-EE40-81B5-3BC1E1DD3A27}"/>
    <dgm:cxn modelId="{2970FD74-186F-A14F-8B18-859F516559D2}" srcId="{B4DB2603-06EB-BC43-B5E3-113B7C63FE26}" destId="{E68191CF-5A27-1849-B87A-6A633AFAF443}" srcOrd="1" destOrd="0" parTransId="{635B35B8-7879-0443-9478-6912BB7642FA}" sibTransId="{9E0182C8-61B4-8947-85E9-8A715C16EE42}"/>
    <dgm:cxn modelId="{C7739978-6E5C-1B4E-A842-846AEF78A5E8}" srcId="{44188717-651C-7A4C-BB09-6C9B92400A25}" destId="{744C76E1-B683-894B-8279-FB5EC246B705}" srcOrd="2" destOrd="0" parTransId="{03429422-3451-F749-B9B0-3B14EB292683}" sibTransId="{AB24E06C-0A5D-6E45-8FCC-C7E95240908D}"/>
    <dgm:cxn modelId="{9AA5AC91-C6CC-564E-B2D2-3533AFD1A00A}" srcId="{744C76E1-B683-894B-8279-FB5EC246B705}" destId="{E12B55CC-A81E-9848-810F-52D8D10EEC2D}" srcOrd="0" destOrd="0" parTransId="{9A2A8BB5-7E13-EB4A-A320-3210CD8F00F4}" sibTransId="{C7E93D2F-F745-AF4F-B002-8207D86F20E4}"/>
    <dgm:cxn modelId="{F3D87A98-5CB8-469F-8121-7BA49946659B}" type="presOf" srcId="{44188717-651C-7A4C-BB09-6C9B92400A25}" destId="{0987FB08-3B7C-2B4E-97E3-51F034E5A9BF}" srcOrd="0" destOrd="0" presId="urn:microsoft.com/office/officeart/2005/8/layout/vList6"/>
    <dgm:cxn modelId="{CB6A679A-C455-4679-8F8B-8A013F27B7C1}" type="presOf" srcId="{50A9B0DC-C5BA-2B4D-A948-FC64826BA831}" destId="{EC7F0F0A-AA98-4447-888F-D2E23E047BEE}" srcOrd="0" destOrd="0" presId="urn:microsoft.com/office/officeart/2005/8/layout/vList6"/>
    <dgm:cxn modelId="{E6EA879B-03A4-41C1-8A3B-F8B6AD4F336A}" type="presOf" srcId="{2806409C-1E68-F447-A5BC-389272211F51}" destId="{CD0E241C-A098-7649-A9B9-BEA138B0DE55}" srcOrd="0" destOrd="1" presId="urn:microsoft.com/office/officeart/2005/8/layout/vList6"/>
    <dgm:cxn modelId="{F4BC559D-0B71-A74C-BAE2-AB153E5307A1}" srcId="{44188717-651C-7A4C-BB09-6C9B92400A25}" destId="{B4DB2603-06EB-BC43-B5E3-113B7C63FE26}" srcOrd="0" destOrd="0" parTransId="{DBBD48BD-8CF6-7047-A7DE-00D90859FAC9}" sibTransId="{D83230A6-1D16-A448-B375-45EF3CB0350C}"/>
    <dgm:cxn modelId="{85C8A7AC-63F4-43FD-9683-554C6F1CF158}" type="presOf" srcId="{B4DB2603-06EB-BC43-B5E3-113B7C63FE26}" destId="{2945DFF1-DE96-2649-8A65-C84603BAD08A}" srcOrd="0" destOrd="0" presId="urn:microsoft.com/office/officeart/2005/8/layout/vList6"/>
    <dgm:cxn modelId="{8D7A4ABC-4274-CB4F-981B-9F046427EFDF}" srcId="{44188717-651C-7A4C-BB09-6C9B92400A25}" destId="{50A9B0DC-C5BA-2B4D-A948-FC64826BA831}" srcOrd="1" destOrd="0" parTransId="{7F914178-4CA2-3947-BFC6-85E6F9CB5ACF}" sibTransId="{1C12A36E-1B9A-884C-8E41-D209C2B02CD0}"/>
    <dgm:cxn modelId="{CD771BD7-6A21-4273-B3C3-5B03BBDC22E7}" type="presOf" srcId="{51915B3B-B581-2446-9F55-E53BA9B95637}" destId="{D588161C-31D3-264A-8269-A02D7607EA54}" srcOrd="0" destOrd="1" presId="urn:microsoft.com/office/officeart/2005/8/layout/vList6"/>
    <dgm:cxn modelId="{703F96EA-9168-4694-BC50-AA8CEBCA3108}" type="presOf" srcId="{E12B55CC-A81E-9848-810F-52D8D10EEC2D}" destId="{D588161C-31D3-264A-8269-A02D7607EA54}" srcOrd="0" destOrd="0" presId="urn:microsoft.com/office/officeart/2005/8/layout/vList6"/>
    <dgm:cxn modelId="{CA29B4F0-87CF-4847-8FDD-8804010B3BF1}" srcId="{50A9B0DC-C5BA-2B4D-A948-FC64826BA831}" destId="{2806409C-1E68-F447-A5BC-389272211F51}" srcOrd="1" destOrd="0" parTransId="{DAB5C924-6C42-DC4A-9478-BD5DD1C5850C}" sibTransId="{77BB7D64-08B1-0940-97A6-B3DBBF7BD3E2}"/>
    <dgm:cxn modelId="{3C1E840D-9117-4A3A-B372-55F6E10C877A}" type="presParOf" srcId="{0987FB08-3B7C-2B4E-97E3-51F034E5A9BF}" destId="{155E9076-455B-6E47-BFC2-5FCAEF988A61}" srcOrd="0" destOrd="0" presId="urn:microsoft.com/office/officeart/2005/8/layout/vList6"/>
    <dgm:cxn modelId="{8F4FC88B-5CF8-4B92-A65E-0CB6F9296AD7}" type="presParOf" srcId="{155E9076-455B-6E47-BFC2-5FCAEF988A61}" destId="{2945DFF1-DE96-2649-8A65-C84603BAD08A}" srcOrd="0" destOrd="0" presId="urn:microsoft.com/office/officeart/2005/8/layout/vList6"/>
    <dgm:cxn modelId="{CBA715E1-999E-431C-95EA-4658321609D9}" type="presParOf" srcId="{155E9076-455B-6E47-BFC2-5FCAEF988A61}" destId="{BE79E152-FBA1-0144-8C0A-25B3D2344064}" srcOrd="1" destOrd="0" presId="urn:microsoft.com/office/officeart/2005/8/layout/vList6"/>
    <dgm:cxn modelId="{DAC5DF9A-D9C0-4228-8AD4-64BE97A52E72}" type="presParOf" srcId="{0987FB08-3B7C-2B4E-97E3-51F034E5A9BF}" destId="{CE52E2CA-3A08-A046-8393-DCABF7E3F7D7}" srcOrd="1" destOrd="0" presId="urn:microsoft.com/office/officeart/2005/8/layout/vList6"/>
    <dgm:cxn modelId="{49E9A92A-045D-4B5F-82FD-578D297D58BD}" type="presParOf" srcId="{0987FB08-3B7C-2B4E-97E3-51F034E5A9BF}" destId="{C5B39C92-200F-8A4F-8752-EBD7EED04A60}" srcOrd="2" destOrd="0" presId="urn:microsoft.com/office/officeart/2005/8/layout/vList6"/>
    <dgm:cxn modelId="{93A28B82-43C7-459B-AA5F-5F793E0AA6BE}" type="presParOf" srcId="{C5B39C92-200F-8A4F-8752-EBD7EED04A60}" destId="{EC7F0F0A-AA98-4447-888F-D2E23E047BEE}" srcOrd="0" destOrd="0" presId="urn:microsoft.com/office/officeart/2005/8/layout/vList6"/>
    <dgm:cxn modelId="{600E30BB-FF38-48B4-BACD-652E3A91C0A0}" type="presParOf" srcId="{C5B39C92-200F-8A4F-8752-EBD7EED04A60}" destId="{CD0E241C-A098-7649-A9B9-BEA138B0DE55}" srcOrd="1" destOrd="0" presId="urn:microsoft.com/office/officeart/2005/8/layout/vList6"/>
    <dgm:cxn modelId="{546B51F7-71C7-4ABD-AC36-DF5BBF2C20E1}" type="presParOf" srcId="{0987FB08-3B7C-2B4E-97E3-51F034E5A9BF}" destId="{7A4A77E3-9CD1-4B4F-8D60-0E25C3AF699D}" srcOrd="3" destOrd="0" presId="urn:microsoft.com/office/officeart/2005/8/layout/vList6"/>
    <dgm:cxn modelId="{AC5D9B98-72B7-4DA9-972F-1B5DE079EDDE}" type="presParOf" srcId="{0987FB08-3B7C-2B4E-97E3-51F034E5A9BF}" destId="{00B37192-C26D-A344-B6BC-32120844613C}" srcOrd="4" destOrd="0" presId="urn:microsoft.com/office/officeart/2005/8/layout/vList6"/>
    <dgm:cxn modelId="{BDD7E3F2-6E6F-45F2-9283-C0BF5B55496A}" type="presParOf" srcId="{00B37192-C26D-A344-B6BC-32120844613C}" destId="{67CA51E0-260C-C242-9B1C-7D9C7D519312}" srcOrd="0" destOrd="0" presId="urn:microsoft.com/office/officeart/2005/8/layout/vList6"/>
    <dgm:cxn modelId="{FC9EB380-F997-423A-ABAA-7D998B86EB55}" type="presParOf" srcId="{00B37192-C26D-A344-B6BC-32120844613C}" destId="{D588161C-31D3-264A-8269-A02D7607EA5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E152-FBA1-0144-8C0A-25B3D2344064}">
      <dsp:nvSpPr>
        <dsp:cNvPr id="0" name=""/>
        <dsp:cNvSpPr/>
      </dsp:nvSpPr>
      <dsp:spPr>
        <a:xfrm>
          <a:off x="3939445" y="97715"/>
          <a:ext cx="6859665" cy="1587228"/>
        </a:xfrm>
        <a:prstGeom prst="rightArrow">
          <a:avLst>
            <a:gd name="adj1" fmla="val 75000"/>
            <a:gd name="adj2" fmla="val 5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404813" lvl="1" indent="-239713" algn="l" defTabSz="844550">
            <a:lnSpc>
              <a:spcPct val="90000"/>
            </a:lnSpc>
            <a:spcBef>
              <a:spcPct val="0"/>
            </a:spcBef>
            <a:spcAft>
              <a:spcPct val="15000"/>
            </a:spcAft>
            <a:buChar char="•"/>
          </a:pPr>
          <a:r>
            <a:rPr lang="en-US" sz="1900" kern="1200" dirty="0"/>
            <a:t>Generated from POC Database on testing and error trends or equivalent report</a:t>
          </a:r>
        </a:p>
        <a:p>
          <a:pPr marL="404813" lvl="1" indent="-239713" algn="l" defTabSz="844550">
            <a:lnSpc>
              <a:spcPct val="90000"/>
            </a:lnSpc>
            <a:spcBef>
              <a:spcPct val="0"/>
            </a:spcBef>
            <a:spcAft>
              <a:spcPct val="15000"/>
            </a:spcAft>
            <a:buChar char="•"/>
          </a:pPr>
          <a:r>
            <a:rPr lang="en-US" sz="1900" kern="1200" dirty="0"/>
            <a:t>To be used during site supervision </a:t>
          </a:r>
        </a:p>
      </dsp:txBody>
      <dsp:txXfrm>
        <a:off x="3939445" y="296119"/>
        <a:ext cx="6264455" cy="1190421"/>
      </dsp:txXfrm>
    </dsp:sp>
    <dsp:sp modelId="{2945DFF1-DE96-2649-8A65-C84603BAD08A}">
      <dsp:nvSpPr>
        <dsp:cNvPr id="0" name=""/>
        <dsp:cNvSpPr/>
      </dsp:nvSpPr>
      <dsp:spPr>
        <a:xfrm>
          <a:off x="387191" y="194032"/>
          <a:ext cx="3657619" cy="139459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Assessment report </a:t>
          </a:r>
        </a:p>
      </dsp:txBody>
      <dsp:txXfrm>
        <a:off x="455269" y="262110"/>
        <a:ext cx="3521463" cy="1258438"/>
      </dsp:txXfrm>
    </dsp:sp>
    <dsp:sp modelId="{CD0E241C-A098-7649-A9B9-BEA138B0DE55}">
      <dsp:nvSpPr>
        <dsp:cNvPr id="0" name=""/>
        <dsp:cNvSpPr/>
      </dsp:nvSpPr>
      <dsp:spPr>
        <a:xfrm>
          <a:off x="3912041" y="1802465"/>
          <a:ext cx="7161147" cy="1574426"/>
        </a:xfrm>
        <a:prstGeom prst="rightArrow">
          <a:avLst>
            <a:gd name="adj1" fmla="val 75000"/>
            <a:gd name="adj2" fmla="val 50000"/>
          </a:avLst>
        </a:prstGeom>
        <a:solidFill>
          <a:schemeClr val="accent3">
            <a:tint val="40000"/>
            <a:alpha val="90000"/>
            <a:hueOff val="5358427"/>
            <a:satOff val="-6896"/>
            <a:lumOff val="-537"/>
            <a:alphaOff val="0"/>
          </a:schemeClr>
        </a:solidFill>
        <a:ln w="25400" cap="flat" cmpd="sng" algn="ctr">
          <a:solidFill>
            <a:schemeClr val="accent3">
              <a:tint val="40000"/>
              <a:alpha val="90000"/>
              <a:hueOff val="5358427"/>
              <a:satOff val="-6896"/>
              <a:lumOff val="-53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344488" lvl="1" indent="-223838" algn="l" defTabSz="844550">
            <a:lnSpc>
              <a:spcPct val="90000"/>
            </a:lnSpc>
            <a:spcBef>
              <a:spcPct val="0"/>
            </a:spcBef>
            <a:spcAft>
              <a:spcPct val="15000"/>
            </a:spcAft>
            <a:buChar char="•"/>
          </a:pPr>
          <a:r>
            <a:rPr lang="en-US" sz="1900" kern="1200" dirty="0"/>
            <a:t>Carried out by trained lab tech/lab coordinator using the POC supervision and mentorship checklist </a:t>
          </a:r>
        </a:p>
        <a:p>
          <a:pPr marL="344488" lvl="1" indent="-223838" algn="l" defTabSz="844550">
            <a:lnSpc>
              <a:spcPct val="90000"/>
            </a:lnSpc>
            <a:spcBef>
              <a:spcPct val="0"/>
            </a:spcBef>
            <a:spcAft>
              <a:spcPct val="15000"/>
            </a:spcAft>
            <a:buChar char="•"/>
          </a:pPr>
          <a:r>
            <a:rPr lang="en-US" sz="1900" kern="1200" dirty="0"/>
            <a:t>Occurs every quarter or every 6 months</a:t>
          </a:r>
        </a:p>
      </dsp:txBody>
      <dsp:txXfrm>
        <a:off x="3912041" y="1999268"/>
        <a:ext cx="6570737" cy="1180820"/>
      </dsp:txXfrm>
    </dsp:sp>
    <dsp:sp modelId="{EC7F0F0A-AA98-4447-888F-D2E23E047BEE}">
      <dsp:nvSpPr>
        <dsp:cNvPr id="0" name=""/>
        <dsp:cNvSpPr/>
      </dsp:nvSpPr>
      <dsp:spPr>
        <a:xfrm>
          <a:off x="330633" y="1885832"/>
          <a:ext cx="3657619" cy="1407692"/>
        </a:xfrm>
        <a:prstGeom prst="roundRect">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Supervision</a:t>
          </a:r>
        </a:p>
      </dsp:txBody>
      <dsp:txXfrm>
        <a:off x="399351" y="1954550"/>
        <a:ext cx="3520183" cy="1270256"/>
      </dsp:txXfrm>
    </dsp:sp>
    <dsp:sp modelId="{D588161C-31D3-264A-8269-A02D7607EA54}">
      <dsp:nvSpPr>
        <dsp:cNvPr id="0" name=""/>
        <dsp:cNvSpPr/>
      </dsp:nvSpPr>
      <dsp:spPr>
        <a:xfrm>
          <a:off x="3864904" y="3434652"/>
          <a:ext cx="6859665" cy="1619947"/>
        </a:xfrm>
        <a:prstGeom prst="rightArrow">
          <a:avLst>
            <a:gd name="adj1" fmla="val 75000"/>
            <a:gd name="adj2" fmla="val 50000"/>
          </a:avLst>
        </a:prstGeom>
        <a:solidFill>
          <a:schemeClr val="accent3">
            <a:tint val="40000"/>
            <a:alpha val="90000"/>
            <a:hueOff val="10716854"/>
            <a:satOff val="-13793"/>
            <a:lumOff val="-1075"/>
            <a:alphaOff val="0"/>
          </a:schemeClr>
        </a:solidFill>
        <a:ln w="25400" cap="flat" cmpd="sng" algn="ctr">
          <a:solidFill>
            <a:schemeClr val="accent3">
              <a:tint val="40000"/>
              <a:alpha val="90000"/>
              <a:hueOff val="10716854"/>
              <a:satOff val="-13793"/>
              <a:lumOff val="-10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404813" lvl="1" indent="-239713" algn="l" defTabSz="844550">
            <a:lnSpc>
              <a:spcPct val="90000"/>
            </a:lnSpc>
            <a:spcBef>
              <a:spcPct val="0"/>
            </a:spcBef>
            <a:spcAft>
              <a:spcPct val="15000"/>
            </a:spcAft>
            <a:buChar char="•"/>
          </a:pPr>
          <a:r>
            <a:rPr lang="en-US" sz="1900" kern="1200" dirty="0"/>
            <a:t>Carried out by trained lab tech as needed </a:t>
          </a:r>
        </a:p>
        <a:p>
          <a:pPr marL="404813" lvl="1" indent="-239713" algn="l" defTabSz="844550">
            <a:lnSpc>
              <a:spcPct val="90000"/>
            </a:lnSpc>
            <a:spcBef>
              <a:spcPct val="0"/>
            </a:spcBef>
            <a:spcAft>
              <a:spcPct val="15000"/>
            </a:spcAft>
            <a:buChar char="•"/>
          </a:pPr>
          <a:r>
            <a:rPr lang="en-US" sz="1900" kern="1200" dirty="0"/>
            <a:t>Based on the supervision/data report findings and EQA performance </a:t>
          </a:r>
        </a:p>
      </dsp:txBody>
      <dsp:txXfrm>
        <a:off x="3864904" y="3637145"/>
        <a:ext cx="6252185" cy="1214961"/>
      </dsp:txXfrm>
    </dsp:sp>
    <dsp:sp modelId="{67CA51E0-260C-C242-9B1C-7D9C7D519312}">
      <dsp:nvSpPr>
        <dsp:cNvPr id="0" name=""/>
        <dsp:cNvSpPr/>
      </dsp:nvSpPr>
      <dsp:spPr>
        <a:xfrm>
          <a:off x="283541" y="3548807"/>
          <a:ext cx="3657619" cy="1407692"/>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Mentorship</a:t>
          </a:r>
        </a:p>
      </dsp:txBody>
      <dsp:txXfrm>
        <a:off x="352259" y="3617525"/>
        <a:ext cx="3520183" cy="1270256"/>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5/20/2019</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70.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03.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119.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135.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136.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137.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CC97D6B-1E1D-4492-808F-30FFBB4E90CA}" type="slidenum">
              <a:rPr lang="en-US">
                <a:solidFill>
                  <a:prstClr val="black"/>
                </a:solidFill>
              </a:rPr>
              <a:pPr/>
              <a:t>11</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a:lstStyle/>
          <a:p>
            <a:r>
              <a:rPr lang="en-US" dirty="0"/>
              <a:t>No single</a:t>
            </a:r>
            <a:r>
              <a:rPr lang="en-US" baseline="0" dirty="0"/>
              <a:t> approach fits all – in order to address all aspects of the QA cycle, a combination of approaches is recommended.</a:t>
            </a:r>
          </a:p>
          <a:p>
            <a:pPr defTabSz="447096" eaLnBrk="0" fontAlgn="base" hangingPunct="0">
              <a:spcBef>
                <a:spcPct val="30000"/>
              </a:spcBef>
              <a:spcAft>
                <a:spcPct val="0"/>
              </a:spcAft>
              <a:defRPr/>
            </a:pPr>
            <a:r>
              <a:rPr lang="en-US" b="0" dirty="0">
                <a:solidFill>
                  <a:srgbClr val="C00000"/>
                </a:solidFill>
              </a:rPr>
              <a:t>Regular Data management through connectivity </a:t>
            </a:r>
            <a:r>
              <a:rPr lang="en-US" b="0" dirty="0"/>
              <a:t>provides the most cost-effective method of minimizing the risk of poor quality testing, and in combination </a:t>
            </a:r>
            <a:r>
              <a:rPr lang="en-US" b="0" dirty="0">
                <a:solidFill>
                  <a:srgbClr val="C00000"/>
                </a:solidFill>
              </a:rPr>
              <a:t>with EQA panels, duplicate testing or inter-lab testing </a:t>
            </a:r>
            <a:r>
              <a:rPr lang="en-US" b="0" dirty="0"/>
              <a:t>once or twice per year can ensure each POC site</a:t>
            </a:r>
            <a:r>
              <a:rPr lang="en-US" b="0" baseline="0" dirty="0"/>
              <a:t> </a:t>
            </a:r>
            <a:r>
              <a:rPr lang="en-US" b="0" dirty="0"/>
              <a:t>maintains comparability with the reference conventional technologies, and /or with global standards. This scheme can also be coupled with </a:t>
            </a:r>
            <a:r>
              <a:rPr lang="en-US" b="0" dirty="0">
                <a:solidFill>
                  <a:srgbClr val="C00000"/>
                </a:solidFill>
              </a:rPr>
              <a:t>periodic site mentorship </a:t>
            </a:r>
            <a:r>
              <a:rPr lang="en-US" b="0" dirty="0"/>
              <a:t>to ensure all aspects of diagnostic testing – including the pre-testing</a:t>
            </a:r>
            <a:r>
              <a:rPr lang="en-US" b="0" baseline="0" dirty="0"/>
              <a:t> phase --</a:t>
            </a:r>
            <a:r>
              <a:rPr lang="en-US" b="0" dirty="0"/>
              <a:t> are monitored.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CC97D6B-1E1D-4492-808F-30FFBB4E90CA}" type="slidenum">
              <a:rPr lang="en-US">
                <a:solidFill>
                  <a:prstClr val="black"/>
                </a:solidFill>
              </a:rPr>
              <a:pPr/>
              <a:t>12</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B8C13B74-EB8E-40F0-B96D-8DE6B053DF35}" type="slidenum">
              <a:rPr lang="en-US">
                <a:solidFill>
                  <a:prstClr val="black"/>
                </a:solidFill>
              </a:rPr>
              <a:pPr/>
              <a:t>13</a:t>
            </a:fld>
            <a:endParaRPr lang="en-US">
              <a:solidFill>
                <a:prstClr val="black"/>
              </a:solidFill>
            </a:endParaRPr>
          </a:p>
        </p:txBody>
      </p:sp>
      <p:sp>
        <p:nvSpPr>
          <p:cNvPr id="978946" name="Rectangle 2"/>
          <p:cNvSpPr>
            <a:spLocks noGrp="1" noRot="1" noChangeAspect="1" noChangeArrowheads="1" noTextEdit="1"/>
          </p:cNvSpPr>
          <p:nvPr>
            <p:ph type="sldImg"/>
          </p:nvPr>
        </p:nvSpPr>
        <p:spPr>
          <a:xfrm>
            <a:off x="382588" y="685800"/>
            <a:ext cx="6094412" cy="3429000"/>
          </a:xfrm>
          <a:ln/>
        </p:spPr>
      </p:sp>
      <p:sp>
        <p:nvSpPr>
          <p:cNvPr id="978948"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0420016E-0F77-48A5-98AC-E6D3AE37892B}" type="slidenum">
              <a:rPr lang="en-US">
                <a:solidFill>
                  <a:prstClr val="black"/>
                </a:solidFill>
              </a:rPr>
              <a:pPr/>
              <a:t>14</a:t>
            </a:fld>
            <a:endParaRPr lang="en-US">
              <a:solidFill>
                <a:prstClr val="black"/>
              </a:solidFill>
            </a:endParaRPr>
          </a:p>
        </p:txBody>
      </p:sp>
      <p:sp>
        <p:nvSpPr>
          <p:cNvPr id="953346" name="Rectangle 2"/>
          <p:cNvSpPr>
            <a:spLocks noGrp="1" noRot="1" noChangeAspect="1" noChangeArrowheads="1" noTextEdit="1"/>
          </p:cNvSpPr>
          <p:nvPr>
            <p:ph type="sldImg"/>
          </p:nvPr>
        </p:nvSpPr>
        <p:spPr>
          <a:xfrm>
            <a:off x="382588" y="685800"/>
            <a:ext cx="6094412" cy="3429000"/>
          </a:xfrm>
          <a:ln/>
        </p:spPr>
      </p:sp>
      <p:sp>
        <p:nvSpPr>
          <p:cNvPr id="953348" name="Rectangle 4"/>
          <p:cNvSpPr>
            <a:spLocks noGrp="1" noChangeArrowheads="1"/>
          </p:cNvSpPr>
          <p:nvPr>
            <p:ph type="body" idx="1"/>
          </p:nvPr>
        </p:nvSpPr>
        <p:spPr/>
        <p:txBody>
          <a:bodyPr/>
          <a:lstStyle/>
          <a:p>
            <a:r>
              <a:rPr lang="en-US" dirty="0"/>
              <a:t>Explain the QA cycle within</a:t>
            </a:r>
            <a:r>
              <a:rPr lang="en-US" baseline="0" dirty="0"/>
              <a:t> the country’s context</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867809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Data reports are </a:t>
            </a:r>
            <a:r>
              <a:rPr lang="en-US" baseline="0" dirty="0"/>
              <a:t>report generated in the database transmitted real time via connectivity</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016037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589D5FED-D7CD-4621-B4F9-0D01D76312E3}" type="slidenum">
              <a:rPr lang="en-US">
                <a:solidFill>
                  <a:prstClr val="black"/>
                </a:solidFill>
              </a:rPr>
              <a:pPr/>
              <a:t>17</a:t>
            </a:fld>
            <a:endParaRPr lang="en-US">
              <a:solidFill>
                <a:prstClr val="black"/>
              </a:solidFill>
            </a:endParaRPr>
          </a:p>
        </p:txBody>
      </p:sp>
      <p:sp>
        <p:nvSpPr>
          <p:cNvPr id="1067010" name="Rectangle 2"/>
          <p:cNvSpPr>
            <a:spLocks noGrp="1" noRot="1" noChangeAspect="1" noChangeArrowheads="1" noTextEdit="1"/>
          </p:cNvSpPr>
          <p:nvPr>
            <p:ph type="sldImg"/>
          </p:nvPr>
        </p:nvSpPr>
        <p:spPr>
          <a:xfrm>
            <a:off x="382588" y="685800"/>
            <a:ext cx="6094412" cy="3429000"/>
          </a:xfrm>
          <a:ln/>
        </p:spPr>
      </p:sp>
      <p:sp>
        <p:nvSpPr>
          <p:cNvPr id="106701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64CB1604-7C07-4CD1-A81F-797F660EB96E}" type="slidenum">
              <a:rPr lang="en-US" altLang="en-US">
                <a:solidFill>
                  <a:prstClr val="black"/>
                </a:solidFill>
              </a:rPr>
              <a:pPr/>
              <a:t>19</a:t>
            </a:fld>
            <a:endParaRPr lang="en-US" altLang="en-US">
              <a:solidFill>
                <a:prstClr val="black"/>
              </a:solidFill>
            </a:endParaRPr>
          </a:p>
        </p:txBody>
      </p:sp>
      <p:sp>
        <p:nvSpPr>
          <p:cNvPr id="53251" name="Rectangle 2"/>
          <p:cNvSpPr>
            <a:spLocks noGrp="1" noRot="1" noChangeAspect="1" noChangeArrowheads="1" noTextEdit="1"/>
          </p:cNvSpPr>
          <p:nvPr>
            <p:ph type="sldImg"/>
          </p:nvPr>
        </p:nvSpPr>
        <p:spPr>
          <a:xfrm>
            <a:off x="382588" y="685800"/>
            <a:ext cx="6094412" cy="3429000"/>
          </a:xfrm>
          <a:ln/>
        </p:spPr>
      </p:sp>
      <p:sp>
        <p:nvSpPr>
          <p:cNvPr id="5325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70E1BEE5-F15F-4A13-B883-74E70E385556}" type="slidenum">
              <a:rPr lang="en-US" altLang="en-US">
                <a:solidFill>
                  <a:prstClr val="black"/>
                </a:solidFill>
              </a:rPr>
              <a:pPr/>
              <a:t>20</a:t>
            </a:fld>
            <a:endParaRPr lang="en-US" altLang="en-US">
              <a:solidFill>
                <a:prstClr val="black"/>
              </a:solidFill>
            </a:endParaRPr>
          </a:p>
        </p:txBody>
      </p:sp>
      <p:sp>
        <p:nvSpPr>
          <p:cNvPr id="56323" name="Rectangle 2"/>
          <p:cNvSpPr>
            <a:spLocks noGrp="1" noRot="1" noChangeAspect="1" noChangeArrowheads="1" noTextEdit="1"/>
          </p:cNvSpPr>
          <p:nvPr>
            <p:ph type="sldImg"/>
          </p:nvPr>
        </p:nvSpPr>
        <p:spPr>
          <a:xfrm>
            <a:off x="382588" y="685800"/>
            <a:ext cx="6094412" cy="3429000"/>
          </a:xfrm>
          <a:ln/>
        </p:spPr>
      </p:sp>
      <p:sp>
        <p:nvSpPr>
          <p:cNvPr id="5632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3EDD4B6C-0758-49DC-B0A7-61B17F87C11C}" type="slidenum">
              <a:rPr lang="en-US" altLang="en-US">
                <a:solidFill>
                  <a:prstClr val="black"/>
                </a:solidFill>
              </a:rPr>
              <a:pPr/>
              <a:t>21</a:t>
            </a:fld>
            <a:endParaRPr lang="en-US" altLang="en-US">
              <a:solidFill>
                <a:prstClr val="black"/>
              </a:solidFill>
            </a:endParaRPr>
          </a:p>
        </p:txBody>
      </p:sp>
      <p:sp>
        <p:nvSpPr>
          <p:cNvPr id="57347" name="Rectangle 2"/>
          <p:cNvSpPr>
            <a:spLocks noGrp="1" noRot="1" noChangeAspect="1" noChangeArrowheads="1" noTextEdit="1"/>
          </p:cNvSpPr>
          <p:nvPr>
            <p:ph type="sldImg"/>
          </p:nvPr>
        </p:nvSpPr>
        <p:spPr>
          <a:xfrm>
            <a:off x="382588" y="685800"/>
            <a:ext cx="6094412" cy="3429000"/>
          </a:xfrm>
          <a:ln/>
        </p:spPr>
      </p:sp>
      <p:sp>
        <p:nvSpPr>
          <p:cNvPr id="5734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8BA2125C-3CD8-447F-AEB6-49AB89D456D3}" type="slidenum">
              <a:rPr lang="en-US" altLang="en-US">
                <a:solidFill>
                  <a:prstClr val="black"/>
                </a:solidFill>
              </a:rPr>
              <a:pPr/>
              <a:t>23</a:t>
            </a:fld>
            <a:endParaRPr lang="en-US" altLang="en-US">
              <a:solidFill>
                <a:prstClr val="black"/>
              </a:solidFill>
            </a:endParaRPr>
          </a:p>
        </p:txBody>
      </p:sp>
      <p:sp>
        <p:nvSpPr>
          <p:cNvPr id="58371" name="Rectangle 2"/>
          <p:cNvSpPr>
            <a:spLocks noGrp="1" noRot="1" noChangeAspect="1" noChangeArrowheads="1" noTextEdit="1"/>
          </p:cNvSpPr>
          <p:nvPr>
            <p:ph type="sldImg"/>
          </p:nvPr>
        </p:nvSpPr>
        <p:spPr>
          <a:xfrm>
            <a:off x="382588" y="685800"/>
            <a:ext cx="6094412" cy="3429000"/>
          </a:xfrm>
          <a:ln/>
        </p:spPr>
      </p:sp>
      <p:sp>
        <p:nvSpPr>
          <p:cNvPr id="5837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C664356B-EACC-40C7-A40D-22A298BE6C9C}" type="slidenum">
              <a:rPr lang="en-US" altLang="en-US">
                <a:solidFill>
                  <a:srgbClr val="000000"/>
                </a:solidFill>
              </a:rPr>
              <a:pPr/>
              <a:t>25</a:t>
            </a:fld>
            <a:endParaRPr lang="en-US" altLang="en-US">
              <a:solidFill>
                <a:srgbClr val="000000"/>
              </a:solidFill>
            </a:endParaRPr>
          </a:p>
        </p:txBody>
      </p:sp>
      <p:sp>
        <p:nvSpPr>
          <p:cNvPr id="59395" name="Rectangle 2"/>
          <p:cNvSpPr>
            <a:spLocks noGrp="1" noRot="1" noChangeAspect="1" noChangeArrowheads="1" noTextEdit="1"/>
          </p:cNvSpPr>
          <p:nvPr>
            <p:ph type="sldImg"/>
          </p:nvPr>
        </p:nvSpPr>
        <p:spPr>
          <a:xfrm>
            <a:off x="382588" y="685800"/>
            <a:ext cx="6094412" cy="34290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Trainer</a:t>
            </a:r>
            <a:r>
              <a:rPr lang="en-US" baseline="0" dirty="0"/>
              <a:t> should consider mentioning BSC cabinets as well, which may not be necessary for POC testing </a:t>
            </a:r>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28</a:t>
            </a:fld>
            <a:endParaRPr lang="en-US"/>
          </a:p>
        </p:txBody>
      </p:sp>
    </p:spTree>
    <p:extLst>
      <p:ext uri="{BB962C8B-B14F-4D97-AF65-F5344CB8AC3E}">
        <p14:creationId xmlns:p14="http://schemas.microsoft.com/office/powerpoint/2010/main" val="80718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F2B47726-7F06-4ABE-848B-08DCE3A9D650}" type="slidenum">
              <a:rPr lang="en-US" altLang="en-US">
                <a:solidFill>
                  <a:prstClr val="black"/>
                </a:solidFill>
              </a:rPr>
              <a:pPr/>
              <a:t>29</a:t>
            </a:fld>
            <a:endParaRPr lang="en-US" altLang="en-US">
              <a:solidFill>
                <a:prstClr val="black"/>
              </a:solidFill>
            </a:endParaRPr>
          </a:p>
        </p:txBody>
      </p:sp>
      <p:sp>
        <p:nvSpPr>
          <p:cNvPr id="60419" name="Rectangle 2"/>
          <p:cNvSpPr>
            <a:spLocks noGrp="1" noRot="1" noChangeAspect="1" noChangeArrowheads="1" noTextEdit="1"/>
          </p:cNvSpPr>
          <p:nvPr>
            <p:ph type="sldImg"/>
          </p:nvPr>
        </p:nvSpPr>
        <p:spPr>
          <a:xfrm>
            <a:off x="566738" y="460375"/>
            <a:ext cx="5726112" cy="3222625"/>
          </a:xfr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EDBD1DAB-7210-43CB-8E74-3398206661F0}" type="slidenum">
              <a:rPr lang="en-US" altLang="en-US">
                <a:solidFill>
                  <a:prstClr val="black"/>
                </a:solidFill>
              </a:rPr>
              <a:pPr/>
              <a:t>30</a:t>
            </a:fld>
            <a:endParaRPr lang="en-US" altLang="en-US">
              <a:solidFill>
                <a:prstClr val="black"/>
              </a:solidFill>
            </a:endParaRPr>
          </a:p>
        </p:txBody>
      </p:sp>
      <p:sp>
        <p:nvSpPr>
          <p:cNvPr id="61443" name="Rectangle 2"/>
          <p:cNvSpPr>
            <a:spLocks noGrp="1" noRot="1" noChangeAspect="1" noChangeArrowheads="1" noTextEdit="1"/>
          </p:cNvSpPr>
          <p:nvPr>
            <p:ph type="sldImg"/>
          </p:nvPr>
        </p:nvSpPr>
        <p:spPr>
          <a:xfrm>
            <a:off x="382588" y="685800"/>
            <a:ext cx="6094412" cy="3429000"/>
          </a:xfrm>
          <a:ln/>
        </p:spPr>
      </p:sp>
      <p:sp>
        <p:nvSpPr>
          <p:cNvPr id="6144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49B912C0-3E3E-47D8-A495-8FC9309DBACE}" type="slidenum">
              <a:rPr lang="en-US" altLang="en-US">
                <a:solidFill>
                  <a:prstClr val="black"/>
                </a:solidFill>
              </a:rPr>
              <a:pPr/>
              <a:t>31</a:t>
            </a:fld>
            <a:endParaRPr lang="en-US" altLang="en-US">
              <a:solidFill>
                <a:prstClr val="black"/>
              </a:solidFill>
            </a:endParaRPr>
          </a:p>
        </p:txBody>
      </p:sp>
      <p:sp>
        <p:nvSpPr>
          <p:cNvPr id="63491" name="Rectangle 2"/>
          <p:cNvSpPr>
            <a:spLocks noGrp="1" noRot="1" noChangeAspect="1" noChangeArrowheads="1" noTextEdit="1"/>
          </p:cNvSpPr>
          <p:nvPr>
            <p:ph type="sldImg"/>
          </p:nvPr>
        </p:nvSpPr>
        <p:spPr>
          <a:xfrm>
            <a:off x="566738" y="460375"/>
            <a:ext cx="5726112" cy="3222625"/>
          </a:xfr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D50382E8-ADD0-4A82-8447-61BC1AE90B22}" type="slidenum">
              <a:rPr lang="en-US" altLang="en-US">
                <a:solidFill>
                  <a:prstClr val="black"/>
                </a:solidFill>
              </a:rPr>
              <a:pPr/>
              <a:t>32</a:t>
            </a:fld>
            <a:endParaRPr lang="en-US" altLang="en-US">
              <a:solidFill>
                <a:prstClr val="black"/>
              </a:solidFill>
            </a:endParaRPr>
          </a:p>
        </p:txBody>
      </p:sp>
      <p:sp>
        <p:nvSpPr>
          <p:cNvPr id="64515" name="Rectangle 2"/>
          <p:cNvSpPr>
            <a:spLocks noGrp="1" noRot="1" noChangeAspect="1" noChangeArrowheads="1" noTextEdit="1"/>
          </p:cNvSpPr>
          <p:nvPr>
            <p:ph type="sldImg"/>
          </p:nvPr>
        </p:nvSpPr>
        <p:spPr>
          <a:xfrm>
            <a:off x="382588" y="685800"/>
            <a:ext cx="6094412" cy="3429000"/>
          </a:xfrm>
          <a:ln/>
        </p:spPr>
      </p:sp>
      <p:sp>
        <p:nvSpPr>
          <p:cNvPr id="64516"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33</a:t>
            </a:fld>
            <a:endParaRPr lang="en-US"/>
          </a:p>
        </p:txBody>
      </p:sp>
    </p:spTree>
    <p:extLst>
      <p:ext uri="{BB962C8B-B14F-4D97-AF65-F5344CB8AC3E}">
        <p14:creationId xmlns:p14="http://schemas.microsoft.com/office/powerpoint/2010/main" val="1250123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Risk of accidental spillage:</a:t>
            </a:r>
            <a:r>
              <a:rPr lang="en-US" baseline="0" dirty="0"/>
              <a:t> </a:t>
            </a:r>
            <a:r>
              <a:rPr lang="en-US" dirty="0"/>
              <a:t>For </a:t>
            </a:r>
            <a:r>
              <a:rPr lang="en-US" dirty="0" err="1"/>
              <a:t>GeneXpert</a:t>
            </a:r>
            <a:r>
              <a:rPr lang="en-US" dirty="0"/>
              <a:t> HIV SR vials and cartridges</a:t>
            </a:r>
            <a:r>
              <a:rPr lang="en-US" baseline="0" dirty="0"/>
              <a:t> and blood samples. For </a:t>
            </a:r>
            <a:r>
              <a:rPr lang="en-US" baseline="0" dirty="0" err="1"/>
              <a:t>Alere</a:t>
            </a:r>
            <a:r>
              <a:rPr lang="en-US" baseline="0" dirty="0"/>
              <a:t> q mostly blood samples </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767043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35</a:t>
            </a:fld>
            <a:endParaRPr lang="en-US"/>
          </a:p>
        </p:txBody>
      </p:sp>
    </p:spTree>
    <p:extLst>
      <p:ext uri="{BB962C8B-B14F-4D97-AF65-F5344CB8AC3E}">
        <p14:creationId xmlns:p14="http://schemas.microsoft.com/office/powerpoint/2010/main" val="3041930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001122F2-F516-44A9-9725-F5CB3C0790A6}" type="slidenum">
              <a:rPr lang="en-US" altLang="en-US" smtClean="0">
                <a:solidFill>
                  <a:prstClr val="black"/>
                </a:solidFill>
              </a:rPr>
              <a:pPr/>
              <a:t>37</a:t>
            </a:fld>
            <a:endParaRPr lang="en-US" altLang="en-US">
              <a:solidFill>
                <a:prstClr val="black"/>
              </a:solidFill>
            </a:endParaRPr>
          </a:p>
        </p:txBody>
      </p:sp>
      <p:sp>
        <p:nvSpPr>
          <p:cNvPr id="67587" name="Rectangle 2"/>
          <p:cNvSpPr>
            <a:spLocks noGrp="1" noRot="1" noChangeAspect="1" noChangeArrowheads="1" noTextEdit="1"/>
          </p:cNvSpPr>
          <p:nvPr>
            <p:ph type="sldImg"/>
          </p:nvPr>
        </p:nvSpPr>
        <p:spPr>
          <a:xfrm>
            <a:off x="382588" y="685800"/>
            <a:ext cx="6094412" cy="3429000"/>
          </a:xfrm>
          <a:ln/>
        </p:spPr>
      </p:sp>
      <p:sp>
        <p:nvSpPr>
          <p:cNvPr id="6758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Check</a:t>
            </a:r>
            <a:r>
              <a:rPr lang="en-US" altLang="en-US" baseline="0" dirty="0"/>
              <a:t> manufacturer's instruction for the disposal /incineration of cartridges to ensure it is not harmful to the environment</a:t>
            </a:r>
          </a:p>
          <a:p>
            <a:pPr eaLnBrk="1" hangingPunct="1"/>
            <a:r>
              <a:rPr lang="en-US" altLang="en-US" baseline="0" dirty="0"/>
              <a:t>Develop SOP for safe cartridges disposal. Please note that some of the cartridges (GeneXpert HIV cartridges) contain cyanide or cyanide bi-product (</a:t>
            </a:r>
            <a:r>
              <a:rPr lang="en-US" altLang="en-US" baseline="0" dirty="0" err="1"/>
              <a:t>Guanidinium</a:t>
            </a:r>
            <a:r>
              <a:rPr lang="en-US" altLang="en-US" baseline="0" dirty="0"/>
              <a:t> Thiocyanate or GTC) and should be incinerated using high temperature (&gt;1000 ˚C) for complete destruction </a:t>
            </a:r>
            <a:endParaRPr lang="en-US"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DF8EECA8-BAFB-4199-842E-0BC96F6BA987}" type="slidenum">
              <a:rPr lang="en-US" altLang="en-US">
                <a:solidFill>
                  <a:prstClr val="black"/>
                </a:solidFill>
              </a:rPr>
              <a:pPr/>
              <a:t>38</a:t>
            </a:fld>
            <a:endParaRPr lang="en-US" altLang="en-US">
              <a:solidFill>
                <a:prstClr val="black"/>
              </a:solidFill>
            </a:endParaRPr>
          </a:p>
        </p:txBody>
      </p:sp>
      <p:sp>
        <p:nvSpPr>
          <p:cNvPr id="65539" name="Rectangle 2"/>
          <p:cNvSpPr>
            <a:spLocks noGrp="1" noRot="1" noChangeAspect="1" noChangeArrowheads="1" noTextEdit="1"/>
          </p:cNvSpPr>
          <p:nvPr>
            <p:ph type="sldImg"/>
          </p:nvPr>
        </p:nvSpPr>
        <p:spPr>
          <a:xfrm>
            <a:off x="382588" y="685800"/>
            <a:ext cx="6094412" cy="3429000"/>
          </a:xfrm>
          <a:ln/>
        </p:spPr>
      </p:sp>
      <p:sp>
        <p:nvSpPr>
          <p:cNvPr id="65540"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40</a:t>
            </a:fld>
            <a:endParaRPr lang="en-US" dirty="0">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solidFill>
                  <a:srgbClr val="FFFFFF"/>
                </a:solidFill>
                <a:ea typeface="ＭＳ Ｐゴシック" charset="0"/>
                <a:cs typeface="ＭＳ Ｐゴシック" charset="0"/>
              </a:rPr>
              <a:t>Benefits of a remote reporting and connectivity solutions include faster result TAT to patient, decreased LTFU, improved utilization, stronger disease surveillance and control, etc. </a:t>
            </a:r>
          </a:p>
          <a:p>
            <a:pPr eaLnBrk="1" hangingPunct="1">
              <a:spcBef>
                <a:spcPct val="0"/>
              </a:spcBef>
            </a:pPr>
            <a:r>
              <a:rPr lang="en-US" dirty="0">
                <a:solidFill>
                  <a:srgbClr val="FFFFFF"/>
                </a:solidFill>
                <a:ea typeface="ＭＳ Ｐゴシック" charset="0"/>
              </a:rPr>
              <a:t>Just give brief overview of the connectivity to use in country (</a:t>
            </a:r>
            <a:r>
              <a:rPr lang="en-US" baseline="0" dirty="0"/>
              <a:t>replace this slide and add slides with country specific intervention) </a:t>
            </a:r>
            <a:endParaRPr lang="en-US" dirty="0">
              <a:solidFill>
                <a:srgbClr val="FFFFFF"/>
              </a:solidFill>
              <a:ea typeface="ＭＳ Ｐゴシック" charset="0"/>
            </a:endParaRPr>
          </a:p>
          <a:p>
            <a:pPr marL="279435" indent="-279435">
              <a:buFont typeface="Arial" panose="020B0604020202020204" pitchFamily="34" charset="0"/>
              <a:buChar char="•"/>
            </a:pPr>
            <a:r>
              <a:rPr lang="en-US" dirty="0">
                <a:solidFill>
                  <a:srgbClr val="FFFFFF"/>
                </a:solidFill>
                <a:ea typeface="ＭＳ Ｐゴシック" charset="0"/>
              </a:rPr>
              <a:t>-</a:t>
            </a:r>
            <a:r>
              <a:rPr lang="en-US" b="1" dirty="0">
                <a:solidFill>
                  <a:srgbClr val="FFFFFF"/>
                </a:solidFill>
                <a:ea typeface="ＭＳ Ｐゴシック" charset="0"/>
              </a:rPr>
              <a:t>Do a separate orientation to sites onsite during site installation once the system is installed and ready for use (whichever system will be adopted)</a:t>
            </a:r>
            <a:endParaRPr lang="en-US" b="1"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41</a:t>
            </a:fld>
            <a:endParaRPr lang="en-US" dirty="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ea typeface="ＭＳ Ｐゴシック" charset="0"/>
                <a:cs typeface="ＭＳ Ｐゴシック" charset="0"/>
              </a:rPr>
              <a:t>The advantages of </a:t>
            </a:r>
            <a:r>
              <a:rPr lang="en-US" dirty="0" err="1">
                <a:ea typeface="ＭＳ Ｐゴシック" charset="0"/>
                <a:cs typeface="ＭＳ Ｐゴシック" charset="0"/>
              </a:rPr>
              <a:t>PoCT</a:t>
            </a:r>
            <a:r>
              <a:rPr lang="en-US" dirty="0">
                <a:ea typeface="ＭＳ Ｐゴシック" charset="0"/>
                <a:cs typeface="ＭＳ Ｐゴシック" charset="0"/>
              </a:rPr>
              <a:t> have been reported as:</a:t>
            </a:r>
          </a:p>
          <a:p>
            <a:r>
              <a:rPr lang="en-US" dirty="0">
                <a:ea typeface="ＭＳ Ｐゴシック" charset="0"/>
                <a:cs typeface="ＭＳ Ｐゴシック" charset="0"/>
              </a:rPr>
              <a:t>- Simpler sample collection in some cases, simpler pre-analytical processes including reduced time between collection and analysis, more rapidly available test results leading to more timely treatment and greater satisfaction for the patient however there are also disadvantages that should be weighed up against such as lack of expertise to assess the quality of result produced by POCT device, resolving errors, inadequate documentation of results and output, etc. For POCT to be carried out successfully, it need a strong lab system for support network that includes SOPs, quality assurance, safety in handling infections materials, managing supplies and device troubleshooting, record management and access to training and mentorship. Lab will be responsible for the ongoing performance of the systems including checking</a:t>
            </a:r>
          </a:p>
          <a:p>
            <a:r>
              <a:rPr lang="en-US" dirty="0">
                <a:ea typeface="ＭＳ Ｐゴシック" charset="0"/>
                <a:cs typeface="ＭＳ Ｐゴシック" charset="0"/>
              </a:rPr>
              <a:t>quality control, performing calibrations when necessary, coordination and review of external quality assurance programs, periodic comparisons with the</a:t>
            </a:r>
          </a:p>
          <a:p>
            <a:r>
              <a:rPr lang="en-US" dirty="0">
                <a:ea typeface="ＭＳ Ｐゴシック" charset="0"/>
                <a:cs typeface="ＭＳ Ｐゴシック" charset="0"/>
              </a:rPr>
              <a:t>laboratory methods and providing assistance to all </a:t>
            </a:r>
            <a:r>
              <a:rPr lang="en-US" dirty="0" err="1">
                <a:ea typeface="ＭＳ Ｐゴシック" charset="0"/>
                <a:cs typeface="ＭＳ Ｐゴシック" charset="0"/>
              </a:rPr>
              <a:t>PoCT</a:t>
            </a:r>
            <a:r>
              <a:rPr lang="en-US" dirty="0">
                <a:ea typeface="ＭＳ Ｐゴシック" charset="0"/>
                <a:cs typeface="ＭＳ Ｐゴシック" charset="0"/>
              </a:rPr>
              <a:t> users.</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086309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F1507AA0-86AC-4339-B8D2-FC39C119ADC4}" type="slidenum">
              <a:rPr lang="en-US">
                <a:solidFill>
                  <a:prstClr val="black"/>
                </a:solidFill>
              </a:rPr>
              <a:pPr/>
              <a:t>47</a:t>
            </a:fld>
            <a:endParaRPr lang="en-US">
              <a:solidFill>
                <a:prstClr val="black"/>
              </a:solidFill>
            </a:endParaRPr>
          </a:p>
        </p:txBody>
      </p:sp>
      <p:sp>
        <p:nvSpPr>
          <p:cNvPr id="1061890" name="Rectangle 2"/>
          <p:cNvSpPr>
            <a:spLocks noGrp="1" noRot="1" noChangeAspect="1" noChangeArrowheads="1" noTextEdit="1"/>
          </p:cNvSpPr>
          <p:nvPr>
            <p:ph type="sldImg"/>
          </p:nvPr>
        </p:nvSpPr>
        <p:spPr>
          <a:xfrm>
            <a:off x="382588" y="685800"/>
            <a:ext cx="6094412" cy="3429000"/>
          </a:xfrm>
          <a:ln/>
        </p:spPr>
      </p:sp>
      <p:sp>
        <p:nvSpPr>
          <p:cNvPr id="1061891" name="Rectangle 3"/>
          <p:cNvSpPr>
            <a:spLocks noGrp="1" noChangeArrowheads="1"/>
          </p:cNvSpPr>
          <p:nvPr>
            <p:ph type="body" idx="1"/>
          </p:nvPr>
        </p:nvSpPr>
        <p:spPr/>
        <p:txBody>
          <a:bodyPr/>
          <a:lstStyle/>
          <a:p>
            <a:r>
              <a:rPr lang="en-US" dirty="0"/>
              <a:t>Extra slides with examples of pre-testing,</a:t>
            </a:r>
            <a:r>
              <a:rPr lang="en-US" baseline="0" dirty="0"/>
              <a:t> testing and post-testing errors and how to prevent them. Trainer should decide whether to insert these after Slide 21; these can be left out to save time. </a:t>
            </a:r>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DF06FF06-693D-4948-9DB3-C24BB4BA06D3}" type="slidenum">
              <a:rPr lang="en-US">
                <a:solidFill>
                  <a:prstClr val="black"/>
                </a:solidFill>
              </a:rPr>
              <a:pPr/>
              <a:t>48</a:t>
            </a:fld>
            <a:endParaRPr lang="en-US">
              <a:solidFill>
                <a:prstClr val="black"/>
              </a:solidFill>
            </a:endParaRPr>
          </a:p>
        </p:txBody>
      </p:sp>
      <p:sp>
        <p:nvSpPr>
          <p:cNvPr id="1005570" name="Rectangle 2"/>
          <p:cNvSpPr>
            <a:spLocks noGrp="1" noRot="1" noChangeAspect="1" noChangeArrowheads="1" noTextEdit="1"/>
          </p:cNvSpPr>
          <p:nvPr>
            <p:ph type="sldImg"/>
          </p:nvPr>
        </p:nvSpPr>
        <p:spPr>
          <a:xfrm>
            <a:off x="382588" y="685800"/>
            <a:ext cx="6094412" cy="3429000"/>
          </a:xfrm>
          <a:ln/>
        </p:spPr>
      </p:sp>
      <p:sp>
        <p:nvSpPr>
          <p:cNvPr id="1005572"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D75A5652-F999-4278-BE6F-9E2361E6F812}" type="slidenum">
              <a:rPr lang="en-US">
                <a:solidFill>
                  <a:prstClr val="black"/>
                </a:solidFill>
              </a:rPr>
              <a:pPr/>
              <a:t>49</a:t>
            </a:fld>
            <a:endParaRPr lang="en-US">
              <a:solidFill>
                <a:prstClr val="black"/>
              </a:solidFill>
            </a:endParaRPr>
          </a:p>
        </p:txBody>
      </p:sp>
      <p:sp>
        <p:nvSpPr>
          <p:cNvPr id="1064962" name="Rectangle 2"/>
          <p:cNvSpPr>
            <a:spLocks noGrp="1" noRot="1" noChangeAspect="1" noChangeArrowheads="1" noTextEdit="1"/>
          </p:cNvSpPr>
          <p:nvPr>
            <p:ph type="sldImg"/>
          </p:nvPr>
        </p:nvSpPr>
        <p:spPr>
          <a:xfrm>
            <a:off x="382588" y="685800"/>
            <a:ext cx="6094412" cy="3429000"/>
          </a:xfrm>
          <a:ln/>
        </p:spPr>
      </p:sp>
      <p:sp>
        <p:nvSpPr>
          <p:cNvPr id="1064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4389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Provide example on quality discussions – solicit</a:t>
            </a:r>
            <a:r>
              <a:rPr lang="en-US" baseline="0" dirty="0"/>
              <a:t> idea from the participants</a:t>
            </a:r>
            <a:endParaRPr lang="en-US" dirty="0"/>
          </a:p>
          <a:p>
            <a:pPr algn="just">
              <a:buNone/>
            </a:pPr>
            <a:r>
              <a:rPr lang="en-US" dirty="0">
                <a:latin typeface="Calibri" pitchFamily="34" charset="0"/>
              </a:rPr>
              <a:t>Fish in the market – a quality experience</a:t>
            </a:r>
          </a:p>
          <a:p>
            <a:pPr algn="just"/>
            <a:r>
              <a:rPr lang="en-US" dirty="0">
                <a:latin typeface="Calibri" pitchFamily="34" charset="0"/>
              </a:rPr>
              <a:t> How do you buy fish in the market?</a:t>
            </a:r>
          </a:p>
          <a:p>
            <a:pPr algn="just"/>
            <a:r>
              <a:rPr lang="en-US" dirty="0">
                <a:latin typeface="Calibri" pitchFamily="34" charset="0"/>
              </a:rPr>
              <a:t>What are your expectations ?</a:t>
            </a:r>
          </a:p>
          <a:p>
            <a:pPr algn="just"/>
            <a:r>
              <a:rPr lang="en-US" dirty="0">
                <a:latin typeface="Calibri" pitchFamily="34" charset="0"/>
              </a:rPr>
              <a:t> How do you ensure that you buy the right fish? </a:t>
            </a:r>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710525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9A2F34A3-72F5-4ABE-803C-8501C53F5509}" type="slidenum">
              <a:rPr lang="en-US">
                <a:solidFill>
                  <a:prstClr val="black"/>
                </a:solidFill>
              </a:rPr>
              <a:pPr/>
              <a:t>7</a:t>
            </a:fld>
            <a:endParaRPr lang="en-US">
              <a:solidFill>
                <a:prstClr val="black"/>
              </a:solidFill>
            </a:endParaRPr>
          </a:p>
        </p:txBody>
      </p:sp>
      <p:sp>
        <p:nvSpPr>
          <p:cNvPr id="1049602" name="Rectangle 2"/>
          <p:cNvSpPr>
            <a:spLocks noGrp="1" noRot="1" noChangeAspect="1" noChangeArrowheads="1" noTextEdit="1"/>
          </p:cNvSpPr>
          <p:nvPr>
            <p:ph type="sldImg"/>
          </p:nvPr>
        </p:nvSpPr>
        <p:spPr>
          <a:xfrm>
            <a:off x="382588" y="685800"/>
            <a:ext cx="6094412" cy="3429000"/>
          </a:xfrm>
          <a:ln/>
        </p:spPr>
      </p:sp>
      <p:sp>
        <p:nvSpPr>
          <p:cNvPr id="1049604" name="Rectangle 4"/>
          <p:cNvSpPr>
            <a:spLocks noGrp="1" noChangeArrowheads="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E0A2F4E5-47A9-42A3-9DD0-E7AA3AE6361D}" type="slidenum">
              <a:rPr lang="en-US">
                <a:solidFill>
                  <a:prstClr val="black"/>
                </a:solidFill>
              </a:rPr>
              <a:pPr/>
              <a:t>8</a:t>
            </a:fld>
            <a:endParaRPr lang="en-US">
              <a:solidFill>
                <a:prstClr val="black"/>
              </a:solidFill>
            </a:endParaRPr>
          </a:p>
        </p:txBody>
      </p:sp>
      <p:sp>
        <p:nvSpPr>
          <p:cNvPr id="885762" name="Rectangle 2"/>
          <p:cNvSpPr>
            <a:spLocks noGrp="1" noRot="1" noChangeAspect="1" noChangeArrowheads="1" noTextEdit="1"/>
          </p:cNvSpPr>
          <p:nvPr>
            <p:ph type="sldImg"/>
          </p:nvPr>
        </p:nvSpPr>
        <p:spPr>
          <a:xfrm>
            <a:off x="382588" y="685800"/>
            <a:ext cx="6094412" cy="3429000"/>
          </a:xfrm>
          <a:ln/>
        </p:spPr>
      </p:sp>
      <p:sp>
        <p:nvSpPr>
          <p:cNvPr id="885764"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272C0A6-3607-4844-B0E4-3F02FA19EE90}" type="slidenum">
              <a:rPr lang="en-US">
                <a:solidFill>
                  <a:prstClr val="black"/>
                </a:solidFill>
              </a:rPr>
              <a:pPr/>
              <a:t>9</a:t>
            </a:fld>
            <a:endParaRPr lang="en-US">
              <a:solidFill>
                <a:prstClr val="black"/>
              </a:solidFill>
            </a:endParaRPr>
          </a:p>
        </p:txBody>
      </p:sp>
      <p:sp>
        <p:nvSpPr>
          <p:cNvPr id="1079298" name="Rectangle 2"/>
          <p:cNvSpPr>
            <a:spLocks noGrp="1" noRot="1" noChangeAspect="1" noChangeArrowheads="1" noTextEdit="1"/>
          </p:cNvSpPr>
          <p:nvPr>
            <p:ph type="sldImg"/>
          </p:nvPr>
        </p:nvSpPr>
        <p:spPr>
          <a:xfrm>
            <a:off x="382588" y="685800"/>
            <a:ext cx="6094412" cy="3429000"/>
          </a:xfrm>
          <a:ln/>
        </p:spPr>
      </p:sp>
      <p:sp>
        <p:nvSpPr>
          <p:cNvPr id="10792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84E832A2-F994-49C6-B89B-F6FFAEEAB237}" type="slidenum">
              <a:rPr lang="en-US">
                <a:solidFill>
                  <a:prstClr val="black"/>
                </a:solidFill>
              </a:rPr>
              <a:pPr/>
              <a:t>10</a:t>
            </a:fld>
            <a:endParaRPr lang="en-US">
              <a:solidFill>
                <a:prstClr val="black"/>
              </a:solidFill>
            </a:endParaRPr>
          </a:p>
        </p:txBody>
      </p:sp>
      <p:sp>
        <p:nvSpPr>
          <p:cNvPr id="1015810" name="Rectangle 2"/>
          <p:cNvSpPr>
            <a:spLocks noGrp="1" noRot="1" noChangeAspect="1" noChangeArrowheads="1" noTextEdit="1"/>
          </p:cNvSpPr>
          <p:nvPr>
            <p:ph type="sldImg"/>
          </p:nvPr>
        </p:nvSpPr>
        <p:spPr>
          <a:xfrm>
            <a:off x="382588" y="685800"/>
            <a:ext cx="6094412" cy="3429000"/>
          </a:xfrm>
          <a:ln/>
        </p:spPr>
      </p:sp>
      <p:sp>
        <p:nvSpPr>
          <p:cNvPr id="1015812" name="Rectangle 4"/>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6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9"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9" y="273066"/>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9"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42659571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6662153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7307507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4"/>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4"/>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0013595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9"/>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288571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9"/>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9"/>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1012109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10587030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9"/>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7370768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97"/>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3322559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3329634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72"/>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72"/>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47"/>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1112638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6865223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8219121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4079964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23577812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34662216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2451031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16190330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39314884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2447022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27"/>
            <a:ext cx="12188825" cy="5000625"/>
          </a:xfrm>
          <a:prstGeom prst="rect">
            <a:avLst/>
          </a:prstGeom>
          <a:solidFill>
            <a:srgbClr val="003366"/>
          </a:solidFill>
          <a:ln w="9525">
            <a:noFill/>
            <a:miter lim="800000"/>
            <a:headEnd/>
            <a:tailEnd/>
          </a:ln>
        </p:spPr>
        <p:txBody>
          <a:bodyPr wrap="none" anchor="ctr"/>
          <a:lstStyle/>
          <a:p>
            <a:pPr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27"/>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80" y="3034432"/>
            <a:ext cx="10360501" cy="718911"/>
          </a:xfrm>
          <a:prstGeom prst="rect">
            <a:avLst/>
          </a:prstGeom>
        </p:spPr>
        <p:txBody>
          <a:bodyPr/>
          <a:lstStyle>
            <a:lvl1pPr algn="l">
              <a:defRPr sz="21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914162" y="3805894"/>
            <a:ext cx="3250353" cy="302263"/>
          </a:xfrm>
          <a:prstGeom prst="rect">
            <a:avLst/>
          </a:prstGeom>
        </p:spPr>
        <p:txBody>
          <a:bodyPr/>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7035757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7585619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674015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5423075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5"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21059083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1"/>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5"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6425377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89"/>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5"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36511589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5"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17029706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2680398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4"/>
            <a:ext cx="8329030" cy="14656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32414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413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6" y="0"/>
            <a:ext cx="12145815" cy="912008"/>
          </a:xfrm>
          <a:prstGeom prst="rect">
            <a:avLst/>
          </a:prstGeom>
        </p:spPr>
        <p:txBody>
          <a:bodyPr/>
          <a:lstStyle>
            <a:lvl1pPr marL="17621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80395339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519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4" y="1652596"/>
          <a:ext cx="10652525" cy="4619625"/>
        </p:xfrm>
        <a:graphic>
          <a:graphicData uri="http://schemas.openxmlformats.org/presentationml/2006/ole">
            <mc:AlternateContent xmlns:mc="http://schemas.openxmlformats.org/markup-compatibility/2006">
              <mc:Choice xmlns:v="urn:schemas-microsoft-com:vml" Requires="v">
                <p:oleObj spid="_x0000_s5193"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4" y="1652596"/>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90"/>
            <a:ext cx="810472"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FA1B599-208B-474C-BB70-669B3289C565}" type="datetime'''''''''2''''''''01''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90"/>
            <a:ext cx="759685"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F896BFF-7D3E-4B57-BCEE-E03F43789C5C}" type="datetime'''''''2''''''''0''''''1''''''''''''''''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90"/>
            <a:ext cx="7088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4CD0D7C0-E8E2-4323-AA5E-5FFE87D5C11C}" type="datetime'''''''''''2''''''''''0''''1''''''''''''''''3'''''''''''''''''">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C2A6D42-1D91-4033-AF71-7B90EA65F69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10517094" y="27273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DBD6C156-6D8B-4DD9-BD68-F88C40AC871A}"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10517094" y="4465665"/>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FBE60238-430C-4185-8E8A-7CBC89180D4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647261" y="400527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EE6D32BE-BDF5-4839-A21A-0CD23EDBD6FA}" type="datetime'''''''''''''2''''''''''''''''''''''''''''''''''''''''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948401" y="322424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2141A37-7C1C-4864-A5A0-28D22DAFE867}" type="datetime'''''''''''''''''3''''''''''''''''''''''''''''''''''''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8F8037BF-D606-4869-9964-7AB63C748805}" type="datetime'''''''''''''''''''''''''''''''''4''''''6'''">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3" y="1314476"/>
            <a:ext cx="851515" cy="276999"/>
          </a:xfrm>
          <a:prstGeom prst="rect">
            <a:avLst/>
          </a:prstGeom>
          <a:noFill/>
          <a:ln w="9525">
            <a:noFill/>
            <a:miter lim="800000"/>
            <a:headEnd/>
            <a:tailEnd/>
          </a:ln>
        </p:spPr>
        <p:txBody>
          <a:bodyPr wrap="none">
            <a:spAutoFit/>
          </a:bodyPr>
          <a:lstStyle/>
          <a:p>
            <a:pPr fontAlgn="base">
              <a:spcBef>
                <a:spcPct val="0"/>
              </a:spcBef>
              <a:spcAft>
                <a:spcPct val="0"/>
              </a:spcAft>
            </a:pPr>
            <a:r>
              <a:rPr lang="en-US" sz="12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18" y="3179"/>
            <a:ext cx="12150047" cy="911225"/>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6251"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6252"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90"/>
            <a:ext cx="842214"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8F5E02E-7D0B-472F-BF25-D9F8CBEFE2E1}"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EED0C45-F51E-46B0-AA32-C55D6828E8E0}"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48" y="6176990"/>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565688E6-4912-4300-8A91-4516C92BCB4E}"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E3CCD5E-39A6-4AF5-9FDC-4EC975B056F7}"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4"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28AEFD3-9C24-4BD4-8C5F-D84442C9A0D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4"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111D8430-C935-4A56-B127-B4B6A08EFC0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4"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C47EE1F9-996F-445E-B3B1-3E41884CB1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24"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E0BDC977-8391-47C1-9AAA-B2F07A205231}"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664244B0-1C06-41CA-99DB-2ED5E4F8EAAF}"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32" y="2300315"/>
          <a:ext cx="4812047" cy="3971925"/>
        </p:xfrm>
        <a:graphic>
          <a:graphicData uri="http://schemas.openxmlformats.org/presentationml/2006/ole">
            <mc:AlternateContent xmlns:mc="http://schemas.openxmlformats.org/markup-compatibility/2006">
              <mc:Choice xmlns:v="urn:schemas-microsoft-com:vml" Requires="v">
                <p:oleObj spid="_x0000_s6253"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32"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4" y="6176990"/>
            <a:ext cx="7744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DFB318E2-5645-4F94-80FA-A41535BE9C65}"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B8C35BC7-65F0-4FE2-A0C1-A1A8A8D3D599}"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2" y="6176990"/>
            <a:ext cx="704666"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AEA9B0AF-60DF-42C7-A7DE-A919C1C0F1C1}"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C1F9B353-C8C3-48AB-A31D-0201FD17C5BF}"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794EFAC4-AB1F-4AFC-AE79-543D575CF41C}"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47647928-E8D8-4868-BA01-68A674FF8C41}"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B1189658-8509-438E-BF6A-7D3A76400763}"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32"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9080380C-C73B-457E-B7FD-A52B4D43F1A6}"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03882645-63AB-4A55-A491-95C764DB019C}"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18"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724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7241"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4"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29AADE07-2BD8-442A-9F5F-6D5089D886BB}"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4"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7E3D8BB-1344-467D-A991-9133302D5BBE}"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4"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D06DB5E-264C-44C8-97E6-5F68CA2829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1001"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0006E74E-2C1B-4F63-BB75-D2A9268F57AC}"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3C3E8A2-D865-4000-9B97-8A3EEEEAFF80}"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30" y="6176990"/>
            <a:ext cx="740640"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68DBDED9-C98D-4B51-BB24-0B25D8A7BC32}"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0F5AC58-41C5-43C7-A2D7-B21365A90B16}"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59" y="6176990"/>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3FFF291-6C97-4C2D-A78B-4F92F437E36C}"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A5F7CBD-DD06-4950-B217-0F16090CB002}"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200" dirty="0">
                <a:solidFill>
                  <a:srgbClr val="000000"/>
                </a:solidFill>
                <a:latin typeface="Calibri" pitchFamily="34" charset="0"/>
              </a:rPr>
              <a:t>First level bullet</a:t>
            </a:r>
          </a:p>
          <a:p>
            <a:pPr lvl="1">
              <a:buClr>
                <a:srgbClr val="000000"/>
              </a:buClr>
              <a:defRPr/>
            </a:pPr>
            <a:r>
              <a:rPr lang="en-US" sz="1050" dirty="0">
                <a:solidFill>
                  <a:srgbClr val="000000"/>
                </a:solidFill>
                <a:latin typeface="Calibri" pitchFamily="34" charset="0"/>
                <a:cs typeface="Arial" charset="0"/>
              </a:rPr>
              <a:t>Second level bullet</a:t>
            </a:r>
          </a:p>
          <a:p>
            <a:pPr>
              <a:buClr>
                <a:srgbClr val="000000"/>
              </a:buClr>
              <a:defRPr/>
            </a:pPr>
            <a:r>
              <a:rPr lang="en-US" sz="1200" dirty="0">
                <a:solidFill>
                  <a:srgbClr val="000000"/>
                </a:solidFill>
                <a:latin typeface="Calibri" pitchFamily="34" charset="0"/>
              </a:rPr>
              <a:t>First level bullet</a:t>
            </a:r>
          </a:p>
        </p:txBody>
      </p:sp>
      <p:sp>
        <p:nvSpPr>
          <p:cNvPr id="2" name="Title 1"/>
          <p:cNvSpPr>
            <a:spLocks noGrp="1"/>
          </p:cNvSpPr>
          <p:nvPr>
            <p:ph type="title"/>
          </p:nvPr>
        </p:nvSpPr>
        <p:spPr>
          <a:xfrm>
            <a:off x="18" y="3177"/>
            <a:ext cx="12150047" cy="908833"/>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7"/>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5986" y="1600227"/>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18"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441" y="6356377"/>
            <a:ext cx="2844059" cy="365125"/>
          </a:xfrm>
          <a:prstGeom prst="rect">
            <a:avLst/>
          </a:prstGeom>
        </p:spPr>
        <p:txBody>
          <a:bodyPr/>
          <a:lstStyle/>
          <a:p>
            <a:endParaRPr lang="en-US">
              <a:solidFill>
                <a:prstClr val="black">
                  <a:tint val="75000"/>
                </a:prstClr>
              </a:solidFill>
              <a:latin typeface="Calibri"/>
            </a:endParaRPr>
          </a:p>
        </p:txBody>
      </p:sp>
      <p:sp>
        <p:nvSpPr>
          <p:cNvPr id="5" name="Footer Placeholder 4"/>
          <p:cNvSpPr>
            <a:spLocks noGrp="1"/>
          </p:cNvSpPr>
          <p:nvPr>
            <p:ph type="ftr" sz="quarter" idx="11"/>
          </p:nvPr>
        </p:nvSpPr>
        <p:spPr>
          <a:xfrm>
            <a:off x="4164515" y="6356377"/>
            <a:ext cx="3859795" cy="365125"/>
          </a:xfrm>
          <a:prstGeom prst="rect">
            <a:avLst/>
          </a:prstGeom>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77"/>
            <a:ext cx="2844059"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a:xfrm>
            <a:off x="4164515" y="6356377"/>
            <a:ext cx="3859795"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735326" y="6356377"/>
            <a:ext cx="2844059" cy="365125"/>
          </a:xfrm>
          <a:prstGeom prst="rect">
            <a:avLst/>
          </a:prstGeom>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6"/>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55"/>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Text Placeholder 4"/>
          <p:cNvSpPr>
            <a:spLocks noGrp="1"/>
          </p:cNvSpPr>
          <p:nvPr>
            <p:ph type="body" sz="quarter" idx="3"/>
          </p:nvPr>
        </p:nvSpPr>
        <p:spPr>
          <a:xfrm>
            <a:off x="6191757" y="1849530"/>
            <a:ext cx="5387630"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6"/>
            <a:ext cx="1701108" cy="4525963"/>
          </a:xfrm>
          <a:prstGeom prst="rect">
            <a:avLst/>
          </a:prstGeom>
        </p:spPr>
        <p:txBody>
          <a:bodyPr vert="eaVert"/>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384500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4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8636080" cy="1325563"/>
          </a:xfrm>
        </p:spPr>
        <p:txBody>
          <a:bodyPr anchor="ctr"/>
          <a:lstStyle>
            <a:lvl1pPr>
              <a:defRPr b="1" i="0">
                <a:solidFill>
                  <a:srgbClr val="0095D9"/>
                </a:solidFill>
                <a:latin typeface="Helvetica-Bold" pitchFamily="2" charset="0"/>
                <a:ea typeface="Helvetica-Bold" pitchFamily="2" charset="0"/>
                <a:cs typeface="Helvetica-Bold" pitchFamily="2" charset="0"/>
              </a:defRPr>
            </a:lvl1pPr>
          </a:lstStyle>
          <a:p>
            <a:r>
              <a:rPr lang="en-US"/>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46"/>
            <a:ext cx="10512862" cy="1465659"/>
          </a:xfrm>
        </p:spPr>
        <p:txBody>
          <a:bodyPr/>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82" y="294456"/>
            <a:ext cx="1870719" cy="498455"/>
          </a:xfrm>
          <a:prstGeom prst="rect">
            <a:avLst/>
          </a:prstGeom>
        </p:spPr>
      </p:pic>
    </p:spTree>
    <p:extLst>
      <p:ext uri="{BB962C8B-B14F-4D97-AF65-F5344CB8AC3E}">
        <p14:creationId xmlns:p14="http://schemas.microsoft.com/office/powerpoint/2010/main" val="252431558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5"/>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5"/>
            <a:ext cx="5385514"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1754" y="1772585"/>
            <a:ext cx="5387630"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60" y="1600206"/>
            <a:ext cx="2236639"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5"/>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dirty="0"/>
              <a:t>Click icon to add chart</a:t>
            </a:r>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374942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1454010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2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68389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4828657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064641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362032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38103446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9" y="27308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0"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1933686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21024053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96815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7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7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91060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5/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2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1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91768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2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7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900129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722230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2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441412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1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1594638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4208561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6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16380533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679652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0244292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9031944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5/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4244921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7728102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1139835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10865032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6"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5" y="273076"/>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6"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9781068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7939220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38812089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4"/>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64"/>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816704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9"/>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938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9"/>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9"/>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67663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5/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11624275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19"/>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0315104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07"/>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12762593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4030195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7"/>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41998515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1159049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34056991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25069923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9721135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236086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5" y="273086"/>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0"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14629621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26174073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3"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3" y="27307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3"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17066541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5197576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2871147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6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28570106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51513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7434316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27415984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1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454844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0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537693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33667334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565214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949498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17829003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42661814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214020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4606381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0492427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3513716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theme" Target="../theme/theme7.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92"/>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5/20/2019</a:t>
            </a:fld>
            <a:endParaRPr lang="en-US"/>
          </a:p>
        </p:txBody>
      </p:sp>
      <p:sp>
        <p:nvSpPr>
          <p:cNvPr id="5" name="Footer Placeholder 4"/>
          <p:cNvSpPr>
            <a:spLocks noGrp="1"/>
          </p:cNvSpPr>
          <p:nvPr>
            <p:ph type="ftr" sz="quarter" idx="3"/>
          </p:nvPr>
        </p:nvSpPr>
        <p:spPr>
          <a:xfrm>
            <a:off x="4164515" y="6356392"/>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92"/>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2"/>
            <a:ext cx="10379546" cy="1465659"/>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9088718" y="6302375"/>
            <a:ext cx="284405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anchor="ctr"/>
          <a:lstStyle/>
          <a:p>
            <a:pPr marL="173831"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7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7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7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375799898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9"/>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6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9"/>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44384035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6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10603311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9"/>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5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9"/>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34443399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12068781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4.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image" Target="../media/image14.wmf"/><Relationship Id="rId7" Type="http://schemas.openxmlformats.org/officeDocument/2006/relationships/image" Target="../media/image18.wmf"/><Relationship Id="rId12" Type="http://schemas.openxmlformats.org/officeDocument/2006/relationships/image" Target="../media/image23.wmf"/><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17.wmf"/><Relationship Id="rId11" Type="http://schemas.openxmlformats.org/officeDocument/2006/relationships/image" Target="../media/image22.wmf"/><Relationship Id="rId5" Type="http://schemas.openxmlformats.org/officeDocument/2006/relationships/image" Target="../media/image16.wmf"/><Relationship Id="rId10" Type="http://schemas.openxmlformats.org/officeDocument/2006/relationships/image" Target="../media/image21.wmf"/><Relationship Id="rId4" Type="http://schemas.openxmlformats.org/officeDocument/2006/relationships/image" Target="../media/image15.wmf"/><Relationship Id="rId9" Type="http://schemas.openxmlformats.org/officeDocument/2006/relationships/image" Target="../media/image20.w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notesSlide" Target="../notesSlides/notesSlide17.xml"/><Relationship Id="rId2" Type="http://schemas.openxmlformats.org/officeDocument/2006/relationships/tags" Target="../tags/tag89.xml"/><Relationship Id="rId16" Type="http://schemas.openxmlformats.org/officeDocument/2006/relationships/slideLayout" Target="../slideLayouts/slideLayout6.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tags" Target="../tags/tag10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notesSlide" Target="../notesSlides/notesSlide1.xml"/><Relationship Id="rId2" Type="http://schemas.openxmlformats.org/officeDocument/2006/relationships/tags" Target="../tags/tag56.xml"/><Relationship Id="rId16"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20.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8" Type="http://schemas.openxmlformats.org/officeDocument/2006/relationships/image" Target="../media/image18.wmf"/><Relationship Id="rId13" Type="http://schemas.openxmlformats.org/officeDocument/2006/relationships/image" Target="../media/image23.wmf"/><Relationship Id="rId3" Type="http://schemas.openxmlformats.org/officeDocument/2006/relationships/image" Target="../media/image25.png"/><Relationship Id="rId7" Type="http://schemas.openxmlformats.org/officeDocument/2006/relationships/image" Target="../media/image17.wmf"/><Relationship Id="rId12" Type="http://schemas.openxmlformats.org/officeDocument/2006/relationships/image" Target="../media/image22.wmf"/><Relationship Id="rId2" Type="http://schemas.openxmlformats.org/officeDocument/2006/relationships/notesSlide" Target="../notesSlides/notesSlide20.xml"/><Relationship Id="rId1" Type="http://schemas.openxmlformats.org/officeDocument/2006/relationships/slideLayout" Target="../slideLayouts/slideLayout76.xml"/><Relationship Id="rId6" Type="http://schemas.openxmlformats.org/officeDocument/2006/relationships/image" Target="../media/image16.wmf"/><Relationship Id="rId11" Type="http://schemas.openxmlformats.org/officeDocument/2006/relationships/image" Target="../media/image21.wmf"/><Relationship Id="rId5" Type="http://schemas.openxmlformats.org/officeDocument/2006/relationships/image" Target="../media/image15.wmf"/><Relationship Id="rId10" Type="http://schemas.openxmlformats.org/officeDocument/2006/relationships/image" Target="../media/image20.wmf"/><Relationship Id="rId4" Type="http://schemas.openxmlformats.org/officeDocument/2006/relationships/image" Target="../media/image14.wmf"/><Relationship Id="rId9" Type="http://schemas.openxmlformats.org/officeDocument/2006/relationships/image" Target="../media/image19.w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89.xml"/><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1.jpeg"/><Relationship Id="rId7" Type="http://schemas.openxmlformats.org/officeDocument/2006/relationships/image" Target="../media/image34.jpeg"/><Relationship Id="rId2" Type="http://schemas.openxmlformats.org/officeDocument/2006/relationships/notesSlide" Target="../notesSlides/notesSlide22.xml"/><Relationship Id="rId1" Type="http://schemas.openxmlformats.org/officeDocument/2006/relationships/slideLayout" Target="../slideLayouts/slideLayout76.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hyperlink" Target="http://www.coffeenerds.com/coffee-pictures4.jpg" TargetMode="External"/><Relationship Id="rId9" Type="http://schemas.openxmlformats.org/officeDocument/2006/relationships/image" Target="../media/image36.wmf"/></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88.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8.xml"/><Relationship Id="rId1" Type="http://schemas.openxmlformats.org/officeDocument/2006/relationships/vmlDrawing" Target="../drawings/vmlDrawing6.vml"/><Relationship Id="rId6" Type="http://schemas.openxmlformats.org/officeDocument/2006/relationships/image" Target="../media/image43.wmf"/><Relationship Id="rId5" Type="http://schemas.openxmlformats.org/officeDocument/2006/relationships/oleObject" Target="../embeddings/oleObject10.bin"/><Relationship Id="rId4" Type="http://schemas.openxmlformats.org/officeDocument/2006/relationships/image" Target="../media/image44.jpeg"/></Relationships>
</file>

<file path=ppt/slides/_rels/slide3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88.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76.xml"/><Relationship Id="rId4" Type="http://schemas.openxmlformats.org/officeDocument/2006/relationships/image" Target="../media/image48.jpeg"/></Relationships>
</file>

<file path=ppt/slides/_rels/slide33.xml.rels><?xml version="1.0" encoding="UTF-8" standalone="yes"?>
<Relationships xmlns="http://schemas.openxmlformats.org/package/2006/relationships"><Relationship Id="rId3" Type="http://schemas.openxmlformats.org/officeDocument/2006/relationships/image" Target="../media/image49.gif"/><Relationship Id="rId7"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76.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hyperlink" Target="http://www.cwru.edu/finadmin/does/web/Images/smalspill3.jp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76.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6.xml"/><Relationship Id="rId1" Type="http://schemas.openxmlformats.org/officeDocument/2006/relationships/vmlDrawing" Target="../drawings/vmlDrawing7.vml"/><Relationship Id="rId6" Type="http://schemas.openxmlformats.org/officeDocument/2006/relationships/image" Target="../media/image57.wmf"/><Relationship Id="rId5" Type="http://schemas.openxmlformats.org/officeDocument/2006/relationships/image" Target="../media/image56.png"/><Relationship Id="rId4" Type="http://schemas.openxmlformats.org/officeDocument/2006/relationships/oleObject" Target="../embeddings/oleObject11.bin"/></Relationships>
</file>

<file path=ppt/slides/_rels/slide3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notesSlide" Target="../notesSlides/notesSlide33.xml"/><Relationship Id="rId2" Type="http://schemas.openxmlformats.org/officeDocument/2006/relationships/tags" Target="../tags/tag105.xml"/><Relationship Id="rId16"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notesSlide" Target="../notesSlides/notesSlide3.xml"/><Relationship Id="rId2" Type="http://schemas.openxmlformats.org/officeDocument/2006/relationships/tags" Target="../tags/tag73.xml"/><Relationship Id="rId16" Type="http://schemas.openxmlformats.org/officeDocument/2006/relationships/slideLayout" Target="../slideLayouts/slideLayout6.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5.xml"/></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05.xml"/></Relationships>
</file>

<file path=ppt/slides/_rels/slide42.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notesSlide" Target="../notesSlides/notesSlide36.xml"/><Relationship Id="rId2" Type="http://schemas.openxmlformats.org/officeDocument/2006/relationships/tags" Target="../tags/tag121.xml"/><Relationship Id="rId16" Type="http://schemas.openxmlformats.org/officeDocument/2006/relationships/slideLayout" Target="../slideLayouts/slideLayout6.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89"/>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dirty="0">
              <a:solidFill>
                <a:schemeClr val="bg1"/>
              </a:solidFill>
            </a:endParaRPr>
          </a:p>
          <a:p>
            <a:endParaRPr lang="en-US" sz="2000" i="1" dirty="0">
              <a:solidFill>
                <a:schemeClr val="bg1"/>
              </a:solidFill>
            </a:endParaRPr>
          </a:p>
          <a:p>
            <a:endParaRPr lang="en-US" sz="2000" i="1" dirty="0">
              <a:solidFill>
                <a:schemeClr val="bg1"/>
              </a:solidFill>
            </a:endParaRPr>
          </a:p>
        </p:txBody>
      </p:sp>
      <p:sp>
        <p:nvSpPr>
          <p:cNvPr id="6" name="Rectangle 12"/>
          <p:cNvSpPr>
            <a:spLocks noGrp="1" noChangeArrowheads="1"/>
          </p:cNvSpPr>
          <p:nvPr>
            <p:ph type="ctrTitle" sz="quarter"/>
          </p:nvPr>
        </p:nvSpPr>
        <p:spPr>
          <a:xfrm>
            <a:off x="457200" y="1447826"/>
            <a:ext cx="11731628" cy="3382963"/>
          </a:xfrm>
        </p:spPr>
        <p:txBody>
          <a:bodyPr/>
          <a:lstStyle/>
          <a:p>
            <a:pPr marL="3175" algn="l" eaLnBrk="1" hangingPunct="1"/>
            <a:r>
              <a:rPr lang="en-US" altLang="en-US" sz="4400" dirty="0">
                <a:solidFill>
                  <a:schemeClr val="bg1"/>
                </a:solidFill>
                <a:ea typeface="ヒラギノ角ゴ Pro W3"/>
                <a:cs typeface="ヒラギノ角ゴ Pro W3"/>
              </a:rPr>
              <a:t>Assuring Quality Testing</a:t>
            </a:r>
            <a:br>
              <a:rPr lang="en-US" altLang="en-US" sz="4400" dirty="0">
                <a:solidFill>
                  <a:schemeClr val="bg1"/>
                </a:solidFill>
                <a:ea typeface="ヒラギノ角ゴ Pro W3"/>
                <a:cs typeface="ヒラギノ角ゴ Pro W3"/>
              </a:rPr>
            </a:br>
            <a:r>
              <a:rPr lang="en-US" altLang="en-US" sz="2800" i="1" dirty="0">
                <a:solidFill>
                  <a:schemeClr val="bg1"/>
                </a:solidFill>
                <a:ea typeface="ヒラギノ角ゴ Pro W3"/>
                <a:cs typeface="ヒラギノ角ゴ Pro W3"/>
              </a:rPr>
              <a:t>Module 2:</a:t>
            </a:r>
            <a:r>
              <a:rPr lang="en-US" altLang="en-US" sz="2800" b="0" i="1" dirty="0">
                <a:solidFill>
                  <a:schemeClr val="bg1"/>
                </a:solidFill>
                <a:ea typeface="ヒラギノ角ゴ Pro W3"/>
                <a:cs typeface="ヒラギノ角ゴ Pro W3"/>
              </a:rPr>
              <a:t> Lab Systems and POC Testing</a:t>
            </a:r>
            <a:br>
              <a:rPr lang="en-US" altLang="en-US" sz="4400" dirty="0">
                <a:solidFill>
                  <a:schemeClr val="bg1"/>
                </a:solidFill>
                <a:ea typeface="ヒラギノ角ゴ Pro W3"/>
                <a:cs typeface="ヒラギノ角ゴ Pro W3"/>
              </a:rPr>
            </a:br>
            <a:br>
              <a:rPr lang="en-US" altLang="en-US" sz="3200" b="0" dirty="0">
                <a:solidFill>
                  <a:schemeClr val="bg1"/>
                </a:solidFill>
                <a:ea typeface="ヒラギノ角ゴ Pro W3"/>
                <a:cs typeface="ヒラギノ角ゴ Pro W3"/>
              </a:rPr>
            </a:b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46"/>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786" name="Rectangle 2"/>
          <p:cNvSpPr>
            <a:spLocks noGrp="1" noChangeArrowheads="1"/>
          </p:cNvSpPr>
          <p:nvPr>
            <p:ph type="title"/>
          </p:nvPr>
        </p:nvSpPr>
        <p:spPr>
          <a:xfrm>
            <a:off x="0" y="-1"/>
            <a:ext cx="12188825" cy="996287"/>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o is responsible for quality?</a:t>
            </a:r>
          </a:p>
        </p:txBody>
      </p:sp>
      <p:sp>
        <p:nvSpPr>
          <p:cNvPr id="1014787" name="Rectangle 3"/>
          <p:cNvSpPr>
            <a:spLocks noGrp="1" noChangeArrowheads="1"/>
          </p:cNvSpPr>
          <p:nvPr>
            <p:ph idx="1"/>
          </p:nvPr>
        </p:nvSpPr>
        <p:spPr>
          <a:xfrm>
            <a:off x="5078677" y="1828800"/>
            <a:ext cx="6805427" cy="3962400"/>
          </a:xfrm>
        </p:spPr>
        <p:txBody>
          <a:bodyPr>
            <a:normAutofit/>
          </a:bodyPr>
          <a:lstStyle/>
          <a:p>
            <a:r>
              <a:rPr lang="en-US" sz="2400" dirty="0">
                <a:latin typeface="Calibri" pitchFamily="34" charset="0"/>
              </a:rPr>
              <a:t>Laboratory management </a:t>
            </a:r>
            <a:r>
              <a:rPr lang="en-US" sz="2400" u="sng" dirty="0">
                <a:latin typeface="Calibri" pitchFamily="34" charset="0"/>
              </a:rPr>
              <a:t>and</a:t>
            </a:r>
            <a:r>
              <a:rPr lang="en-US" sz="2400" dirty="0">
                <a:latin typeface="Calibri" pitchFamily="34" charset="0"/>
              </a:rPr>
              <a:t> program staff establish and oversees quality assurance procedures</a:t>
            </a:r>
          </a:p>
          <a:p>
            <a:pPr>
              <a:buFontTx/>
              <a:buNone/>
            </a:pPr>
            <a:endParaRPr lang="en-US" sz="2400" dirty="0">
              <a:latin typeface="Calibri" pitchFamily="34" charset="0"/>
            </a:endParaRPr>
          </a:p>
          <a:p>
            <a:r>
              <a:rPr lang="en-US" sz="2400" dirty="0">
                <a:latin typeface="Calibri" pitchFamily="34" charset="0"/>
              </a:rPr>
              <a:t>Test site personnel implement the quality assurance procedures</a:t>
            </a:r>
          </a:p>
          <a:p>
            <a:endParaRPr lang="en-US" sz="2400" dirty="0">
              <a:latin typeface="Calibri" pitchFamily="34" charset="0"/>
            </a:endParaRPr>
          </a:p>
          <a:p>
            <a:r>
              <a:rPr lang="en-US" sz="2400" b="1" dirty="0">
                <a:latin typeface="Calibri" pitchFamily="34" charset="0"/>
              </a:rPr>
              <a:t>Everyone is responsible for maintaining quality in testing</a:t>
            </a:r>
          </a:p>
        </p:txBody>
      </p:sp>
      <p:sp>
        <p:nvSpPr>
          <p:cNvPr id="1014789" name="AutoShape 5"/>
          <p:cNvSpPr>
            <a:spLocks noChangeArrowheads="1"/>
          </p:cNvSpPr>
          <p:nvPr/>
        </p:nvSpPr>
        <p:spPr bwMode="auto">
          <a:xfrm>
            <a:off x="304721" y="1961865"/>
            <a:ext cx="4773956" cy="2895600"/>
          </a:xfrm>
          <a:prstGeom prst="irregularSeal1">
            <a:avLst/>
          </a:prstGeom>
          <a:solidFill>
            <a:srgbClr val="CCCCFF"/>
          </a:solidFill>
          <a:ln w="9525">
            <a:solidFill>
              <a:schemeClr val="tx1"/>
            </a:solidFill>
            <a:miter lim="800000"/>
            <a:headEnd/>
            <a:tailEnd/>
          </a:ln>
          <a:effectLst>
            <a:outerShdw dist="28398" dir="1593903" algn="ctr" rotWithShape="0">
              <a:schemeClr val="bg2"/>
            </a:outerShdw>
          </a:effectLst>
        </p:spPr>
        <p:txBody>
          <a:bodyPr wrap="none" anchor="ctr"/>
          <a:lstStyle/>
          <a:p>
            <a:pPr algn="ctr" defTabSz="457200" fontAlgn="base">
              <a:spcBef>
                <a:spcPct val="0"/>
              </a:spcBef>
              <a:spcAft>
                <a:spcPct val="0"/>
              </a:spcAft>
            </a:pPr>
            <a:r>
              <a:rPr lang="en-US" sz="3200" b="1" dirty="0">
                <a:solidFill>
                  <a:srgbClr val="FF0000"/>
                </a:solidFill>
                <a:ea typeface="ＭＳ Ｐゴシック" pitchFamily="34" charset="-128"/>
              </a:rPr>
              <a:t>EVERYONE!</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438642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Comparison of QA approaches for POC testing </a:t>
            </a:r>
          </a:p>
        </p:txBody>
      </p:sp>
      <p:sp>
        <p:nvSpPr>
          <p:cNvPr id="21" name="Slide Number Placeholder 3"/>
          <p:cNvSpPr>
            <a:spLocks noGrp="1"/>
          </p:cNvSpPr>
          <p:nvPr>
            <p:ph type="sldNum" sz="quarter" idx="10"/>
          </p:nvPr>
        </p:nvSpPr>
        <p:spPr/>
        <p:txBody>
          <a:bodyPr/>
          <a:lstStyle/>
          <a:p>
            <a:fld id="{F19BED99-59E1-49C3-8B58-57831D85CA78}" type="slidenum">
              <a:rPr lang="en-US"/>
              <a:pPr/>
              <a:t>11</a:t>
            </a:fld>
            <a:endParaRPr lang="en-US"/>
          </a:p>
        </p:txBody>
      </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graphicFrame>
        <p:nvGraphicFramePr>
          <p:cNvPr id="2" name="Table 1"/>
          <p:cNvGraphicFramePr>
            <a:graphicFrameLocks noGrp="1"/>
          </p:cNvGraphicFramePr>
          <p:nvPr>
            <p:extLst>
              <p:ext uri="{D42A27DB-BD31-4B8C-83A1-F6EECF244321}">
                <p14:modId xmlns:p14="http://schemas.microsoft.com/office/powerpoint/2010/main" val="716266553"/>
              </p:ext>
            </p:extLst>
          </p:nvPr>
        </p:nvGraphicFramePr>
        <p:xfrm>
          <a:off x="278807" y="1143000"/>
          <a:ext cx="11683005" cy="5333995"/>
        </p:xfrm>
        <a:graphic>
          <a:graphicData uri="http://schemas.openxmlformats.org/drawingml/2006/table">
            <a:tbl>
              <a:tblPr firstRow="1" bandRow="1">
                <a:tableStyleId>{5940675A-B579-460E-94D1-54222C63F5DA}</a:tableStyleId>
              </a:tblPr>
              <a:tblGrid>
                <a:gridCol w="4491825">
                  <a:extLst>
                    <a:ext uri="{9D8B030D-6E8A-4147-A177-3AD203B41FA5}">
                      <a16:colId xmlns:a16="http://schemas.microsoft.com/office/drawing/2014/main" val="20000"/>
                    </a:ext>
                  </a:extLst>
                </a:gridCol>
                <a:gridCol w="1438236">
                  <a:extLst>
                    <a:ext uri="{9D8B030D-6E8A-4147-A177-3AD203B41FA5}">
                      <a16:colId xmlns:a16="http://schemas.microsoft.com/office/drawing/2014/main" val="20001"/>
                    </a:ext>
                  </a:extLst>
                </a:gridCol>
                <a:gridCol w="1438236">
                  <a:extLst>
                    <a:ext uri="{9D8B030D-6E8A-4147-A177-3AD203B41FA5}">
                      <a16:colId xmlns:a16="http://schemas.microsoft.com/office/drawing/2014/main" val="20002"/>
                    </a:ext>
                  </a:extLst>
                </a:gridCol>
                <a:gridCol w="1438236">
                  <a:extLst>
                    <a:ext uri="{9D8B030D-6E8A-4147-A177-3AD203B41FA5}">
                      <a16:colId xmlns:a16="http://schemas.microsoft.com/office/drawing/2014/main" val="20003"/>
                    </a:ext>
                  </a:extLst>
                </a:gridCol>
                <a:gridCol w="1438236">
                  <a:extLst>
                    <a:ext uri="{9D8B030D-6E8A-4147-A177-3AD203B41FA5}">
                      <a16:colId xmlns:a16="http://schemas.microsoft.com/office/drawing/2014/main" val="20004"/>
                    </a:ext>
                  </a:extLst>
                </a:gridCol>
                <a:gridCol w="1438236">
                  <a:extLst>
                    <a:ext uri="{9D8B030D-6E8A-4147-A177-3AD203B41FA5}">
                      <a16:colId xmlns:a16="http://schemas.microsoft.com/office/drawing/2014/main" val="20005"/>
                    </a:ext>
                  </a:extLst>
                </a:gridCol>
              </a:tblGrid>
              <a:tr h="987465">
                <a:tc>
                  <a:txBody>
                    <a:bodyPr/>
                    <a:lstStyle/>
                    <a:p>
                      <a:endParaRPr lang="en-US" sz="1400" dirty="0"/>
                    </a:p>
                  </a:txBody>
                  <a:tcPr/>
                </a:tc>
                <a:tc>
                  <a:txBody>
                    <a:bodyPr/>
                    <a:lstStyle/>
                    <a:p>
                      <a:pPr algn="ctr"/>
                      <a:r>
                        <a:rPr lang="en-US" sz="1400" b="1" dirty="0">
                          <a:solidFill>
                            <a:schemeClr val="bg1"/>
                          </a:solidFill>
                        </a:rPr>
                        <a:t>External</a:t>
                      </a:r>
                      <a:r>
                        <a:rPr lang="en-US" sz="1400" b="1" baseline="0" dirty="0">
                          <a:solidFill>
                            <a:schemeClr val="bg1"/>
                          </a:solidFill>
                        </a:rPr>
                        <a:t> Quality Assessment (EQA) Panels</a:t>
                      </a:r>
                      <a:endParaRPr lang="en-US" sz="1400" b="1" dirty="0">
                        <a:solidFill>
                          <a:schemeClr val="bg1"/>
                        </a:solidFill>
                      </a:endParaRPr>
                    </a:p>
                  </a:txBody>
                  <a:tcPr anchor="ctr">
                    <a:solidFill>
                      <a:schemeClr val="accent1">
                        <a:lumMod val="75000"/>
                      </a:schemeClr>
                    </a:solidFill>
                  </a:tcPr>
                </a:tc>
                <a:tc>
                  <a:txBody>
                    <a:bodyPr/>
                    <a:lstStyle/>
                    <a:p>
                      <a:pPr algn="ctr"/>
                      <a:r>
                        <a:rPr lang="en-US" sz="1400" b="1" dirty="0">
                          <a:solidFill>
                            <a:schemeClr val="bg1"/>
                          </a:solidFill>
                        </a:rPr>
                        <a:t>Internal Quality Control (IQC)</a:t>
                      </a:r>
                    </a:p>
                  </a:txBody>
                  <a:tcPr anchor="ctr">
                    <a:solidFill>
                      <a:schemeClr val="accent1">
                        <a:lumMod val="75000"/>
                      </a:schemeClr>
                    </a:solidFill>
                  </a:tcPr>
                </a:tc>
                <a:tc>
                  <a:txBody>
                    <a:bodyPr/>
                    <a:lstStyle/>
                    <a:p>
                      <a:pPr algn="ctr"/>
                      <a:r>
                        <a:rPr lang="en-US" sz="1400" b="1" dirty="0">
                          <a:solidFill>
                            <a:schemeClr val="bg1"/>
                          </a:solidFill>
                        </a:rPr>
                        <a:t>Duplicate Testing/Inter-laboratory</a:t>
                      </a:r>
                      <a:r>
                        <a:rPr lang="en-US" sz="1400" b="1" baseline="0" dirty="0">
                          <a:solidFill>
                            <a:schemeClr val="bg1"/>
                          </a:solidFill>
                        </a:rPr>
                        <a:t> Sample Testing</a:t>
                      </a:r>
                      <a:endParaRPr lang="en-US" sz="1400" b="1" dirty="0">
                        <a:solidFill>
                          <a:schemeClr val="bg1"/>
                        </a:solidFill>
                      </a:endParaRPr>
                    </a:p>
                  </a:txBody>
                  <a:tcPr anchor="ctr">
                    <a:solidFill>
                      <a:schemeClr val="accent1">
                        <a:lumMod val="75000"/>
                      </a:schemeClr>
                    </a:solidFill>
                  </a:tcPr>
                </a:tc>
                <a:tc>
                  <a:txBody>
                    <a:bodyPr/>
                    <a:lstStyle/>
                    <a:p>
                      <a:pPr algn="ctr"/>
                      <a:r>
                        <a:rPr lang="en-US" sz="1400" b="1" dirty="0">
                          <a:solidFill>
                            <a:schemeClr val="bg1"/>
                          </a:solidFill>
                        </a:rPr>
                        <a:t>Connectivity</a:t>
                      </a:r>
                    </a:p>
                  </a:txBody>
                  <a:tcPr anchor="ctr">
                    <a:solidFill>
                      <a:schemeClr val="accent1">
                        <a:lumMod val="75000"/>
                      </a:schemeClr>
                    </a:solidFill>
                  </a:tcPr>
                </a:tc>
                <a:tc>
                  <a:txBody>
                    <a:bodyPr/>
                    <a:lstStyle/>
                    <a:p>
                      <a:pPr algn="ctr"/>
                      <a:r>
                        <a:rPr lang="en-US" sz="1400" b="1" dirty="0">
                          <a:solidFill>
                            <a:schemeClr val="bg1"/>
                          </a:solidFill>
                        </a:rPr>
                        <a:t>Mentorship</a:t>
                      </a:r>
                    </a:p>
                  </a:txBody>
                  <a:tcPr anchor="ctr">
                    <a:solidFill>
                      <a:schemeClr val="accent1">
                        <a:lumMod val="75000"/>
                      </a:schemeClr>
                    </a:solidFill>
                  </a:tcPr>
                </a:tc>
                <a:extLst>
                  <a:ext uri="{0D108BD9-81ED-4DB2-BD59-A6C34878D82A}">
                    <a16:rowId xmlns:a16="http://schemas.microsoft.com/office/drawing/2014/main" val="10000"/>
                  </a:ext>
                </a:extLst>
              </a:tr>
              <a:tr h="341815">
                <a:tc gridSpan="6">
                  <a:txBody>
                    <a:bodyPr/>
                    <a:lstStyle/>
                    <a:p>
                      <a:r>
                        <a:rPr lang="en-US" sz="1400" dirty="0"/>
                        <a:t>Technology</a:t>
                      </a:r>
                      <a:r>
                        <a:rPr lang="en-US" sz="1400" baseline="0" dirty="0"/>
                        <a:t> and Systems</a:t>
                      </a:r>
                      <a:endParaRPr lang="en-US" sz="1400" dirty="0"/>
                    </a:p>
                  </a:txBody>
                  <a:tcPr>
                    <a:solidFill>
                      <a:schemeClr val="bg1">
                        <a:lumMod val="75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1"/>
                  </a:ext>
                </a:extLst>
              </a:tr>
              <a:tr h="308055">
                <a:tc>
                  <a:txBody>
                    <a:bodyPr/>
                    <a:lstStyle/>
                    <a:p>
                      <a:r>
                        <a:rPr lang="en-US" sz="1400" dirty="0"/>
                        <a:t>Instrument/device</a:t>
                      </a:r>
                      <a:r>
                        <a:rPr lang="en-US" sz="1400" baseline="0" dirty="0"/>
                        <a:t> performance </a:t>
                      </a:r>
                      <a:endParaRPr lang="en-US" sz="1400" dirty="0"/>
                    </a:p>
                  </a:txBody>
                  <a:tcPr/>
                </a:tc>
                <a:tc>
                  <a:txBody>
                    <a:bodyPr/>
                    <a:lstStyle/>
                    <a:p>
                      <a:pPr algn="ct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extLst>
                  <a:ext uri="{0D108BD9-81ED-4DB2-BD59-A6C34878D82A}">
                    <a16:rowId xmlns:a16="http://schemas.microsoft.com/office/drawing/2014/main" val="10002"/>
                  </a:ext>
                </a:extLst>
              </a:tr>
              <a:tr h="308055">
                <a:tc>
                  <a:txBody>
                    <a:bodyPr/>
                    <a:lstStyle/>
                    <a:p>
                      <a:r>
                        <a:rPr lang="en-US" sz="1400" dirty="0"/>
                        <a:t>Patient identification</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p>
                  </a:txBody>
                  <a:tcPr anchor="ctr"/>
                </a:tc>
                <a:extLst>
                  <a:ext uri="{0D108BD9-81ED-4DB2-BD59-A6C34878D82A}">
                    <a16:rowId xmlns:a16="http://schemas.microsoft.com/office/drawing/2014/main" val="10003"/>
                  </a:ext>
                </a:extLst>
              </a:tr>
              <a:tr h="308055">
                <a:tc>
                  <a:txBody>
                    <a:bodyPr/>
                    <a:lstStyle/>
                    <a:p>
                      <a:r>
                        <a:rPr lang="en-US" sz="1400" dirty="0"/>
                        <a:t>Sample</a:t>
                      </a:r>
                      <a:r>
                        <a:rPr lang="en-US" sz="1400" baseline="0" dirty="0"/>
                        <a:t> &amp; reagent storage conditions</a:t>
                      </a:r>
                      <a:endParaRPr lang="en-US" sz="1400" dirty="0"/>
                    </a:p>
                  </a:txBody>
                  <a:tcPr/>
                </a:tc>
                <a:tc>
                  <a:txBody>
                    <a:bodyPr/>
                    <a:lstStyle/>
                    <a:p>
                      <a:pPr algn="ct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4"/>
                  </a:ext>
                </a:extLst>
              </a:tr>
              <a:tr h="308055">
                <a:tc>
                  <a:txBody>
                    <a:bodyPr/>
                    <a:lstStyle/>
                    <a:p>
                      <a:r>
                        <a:rPr lang="en-US" sz="1400" dirty="0"/>
                        <a:t>Sample</a:t>
                      </a:r>
                      <a:r>
                        <a:rPr lang="en-US" sz="1400" baseline="0" dirty="0"/>
                        <a:t> transportation conditions</a:t>
                      </a:r>
                      <a:endParaRPr lang="en-US" sz="1400" dirty="0"/>
                    </a:p>
                  </a:txBody>
                  <a:tcP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5"/>
                  </a:ext>
                </a:extLst>
              </a:tr>
              <a:tr h="308055">
                <a:tc>
                  <a:txBody>
                    <a:bodyPr/>
                    <a:lstStyle/>
                    <a:p>
                      <a:r>
                        <a:rPr lang="en-US" sz="1400" dirty="0"/>
                        <a:t>Inter-laboratory comparison</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6"/>
                  </a:ext>
                </a:extLst>
              </a:tr>
              <a:tr h="308055">
                <a:tc gridSpan="6">
                  <a:txBody>
                    <a:bodyPr/>
                    <a:lstStyle/>
                    <a:p>
                      <a:r>
                        <a:rPr lang="en-US" sz="1400" dirty="0"/>
                        <a:t>User</a:t>
                      </a:r>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extLst>
                  <a:ext uri="{0D108BD9-81ED-4DB2-BD59-A6C34878D82A}">
                    <a16:rowId xmlns:a16="http://schemas.microsoft.com/office/drawing/2014/main" val="10007"/>
                  </a:ext>
                </a:extLst>
              </a:tr>
              <a:tr h="308055">
                <a:tc>
                  <a:txBody>
                    <a:bodyPr/>
                    <a:lstStyle/>
                    <a:p>
                      <a:r>
                        <a:rPr lang="en-US" sz="1400" dirty="0"/>
                        <a:t>Overall technical</a:t>
                      </a:r>
                      <a:r>
                        <a:rPr lang="en-US" sz="1400" baseline="0" dirty="0"/>
                        <a:t> procedure</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8"/>
                  </a:ext>
                </a:extLst>
              </a:tr>
              <a:tr h="308055">
                <a:tc>
                  <a:txBody>
                    <a:bodyPr/>
                    <a:lstStyle/>
                    <a:p>
                      <a:r>
                        <a:rPr lang="en-US" sz="1400" dirty="0"/>
                        <a:t>Sample handling</a:t>
                      </a:r>
                    </a:p>
                  </a:txBody>
                  <a:tcP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9"/>
                  </a:ext>
                </a:extLst>
              </a:tr>
              <a:tr h="308055">
                <a:tc>
                  <a:txBody>
                    <a:bodyPr/>
                    <a:lstStyle/>
                    <a:p>
                      <a:r>
                        <a:rPr lang="en-US" sz="1400" dirty="0"/>
                        <a:t>Reagent</a:t>
                      </a:r>
                      <a:r>
                        <a:rPr lang="en-US" sz="1400" baseline="0" dirty="0"/>
                        <a:t> application</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0"/>
                  </a:ext>
                </a:extLst>
              </a:tr>
              <a:tr h="308055">
                <a:tc>
                  <a:txBody>
                    <a:bodyPr/>
                    <a:lstStyle/>
                    <a:p>
                      <a:r>
                        <a:rPr lang="en-US" sz="1400" dirty="0"/>
                        <a:t>Sample collection</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1"/>
                  </a:ext>
                </a:extLst>
              </a:tr>
              <a:tr h="308055">
                <a:tc>
                  <a:txBody>
                    <a:bodyPr/>
                    <a:lstStyle/>
                    <a:p>
                      <a:r>
                        <a:rPr lang="en-US" sz="1400" dirty="0"/>
                        <a:t>Sample application</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2"/>
                  </a:ext>
                </a:extLst>
              </a:tr>
              <a:tr h="308055">
                <a:tc>
                  <a:txBody>
                    <a:bodyPr/>
                    <a:lstStyle/>
                    <a:p>
                      <a:r>
                        <a:rPr lang="en-US" sz="1400" dirty="0"/>
                        <a:t>Result interpretation</a:t>
                      </a:r>
                      <a:r>
                        <a:rPr lang="en-US" sz="1400" baseline="0" dirty="0"/>
                        <a:t> or reading</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3"/>
                  </a:ext>
                </a:extLst>
              </a:tr>
              <a:tr h="308055">
                <a:tc>
                  <a:txBody>
                    <a:bodyPr/>
                    <a:lstStyle/>
                    <a:p>
                      <a:r>
                        <a:rPr lang="en-US" sz="1400" dirty="0"/>
                        <a:t>Data processing (records)</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4"/>
                  </a:ext>
                </a:extLst>
              </a:tr>
            </a:tbl>
          </a:graphicData>
        </a:graphic>
      </p:graphicFrame>
      <p:sp>
        <p:nvSpPr>
          <p:cNvPr id="3" name="TextBox 2"/>
          <p:cNvSpPr txBox="1"/>
          <p:nvPr/>
        </p:nvSpPr>
        <p:spPr>
          <a:xfrm rot="16200000">
            <a:off x="3046412" y="1504950"/>
            <a:ext cx="2362200" cy="26670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lgn="ctr">
              <a:spcBef>
                <a:spcPts val="0"/>
              </a:spcBef>
              <a:spcAft>
                <a:spcPts val="0"/>
              </a:spcAft>
            </a:pPr>
            <a:r>
              <a:rPr lang="en-US" sz="1400" b="1" dirty="0">
                <a:solidFill>
                  <a:srgbClr val="000000"/>
                </a:solidFill>
                <a:ea typeface="ＭＳ 明朝"/>
                <a:cs typeface="Times New Roman"/>
              </a:rPr>
              <a:t>QA </a:t>
            </a:r>
          </a:p>
          <a:p>
            <a:pPr marL="0" marR="0" algn="ctr">
              <a:spcBef>
                <a:spcPts val="0"/>
              </a:spcBef>
              <a:spcAft>
                <a:spcPts val="0"/>
              </a:spcAft>
            </a:pPr>
            <a:r>
              <a:rPr lang="en-US" sz="1400" b="1" dirty="0">
                <a:solidFill>
                  <a:srgbClr val="000000"/>
                </a:solidFill>
                <a:ea typeface="ＭＳ 明朝"/>
                <a:cs typeface="Times New Roman"/>
              </a:rPr>
              <a:t>Approaches</a:t>
            </a:r>
          </a:p>
        </p:txBody>
      </p:sp>
    </p:spTree>
    <p:extLst>
      <p:ext uri="{BB962C8B-B14F-4D97-AF65-F5344CB8AC3E}">
        <p14:creationId xmlns:p14="http://schemas.microsoft.com/office/powerpoint/2010/main" val="290286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Quality Assurance vs. Quality Control</a:t>
            </a:r>
          </a:p>
        </p:txBody>
      </p:sp>
      <p:graphicFrame>
        <p:nvGraphicFramePr>
          <p:cNvPr id="1053762" name="Group 66"/>
          <p:cNvGraphicFramePr>
            <a:graphicFrameLocks noGrp="1"/>
          </p:cNvGraphicFramePr>
          <p:nvPr>
            <p:ph type="tbl" idx="1"/>
            <p:extLst>
              <p:ext uri="{D42A27DB-BD31-4B8C-83A1-F6EECF244321}">
                <p14:modId xmlns:p14="http://schemas.microsoft.com/office/powerpoint/2010/main" val="852715413"/>
              </p:ext>
            </p:extLst>
          </p:nvPr>
        </p:nvGraphicFramePr>
        <p:xfrm>
          <a:off x="608012" y="1447806"/>
          <a:ext cx="10766796" cy="4618841"/>
        </p:xfrm>
        <a:graphic>
          <a:graphicData uri="http://schemas.openxmlformats.org/drawingml/2006/table">
            <a:tbl>
              <a:tblPr>
                <a:tableStyleId>{69CF1AB2-1976-4502-BF36-3FF5EA218861}</a:tableStyleId>
              </a:tblPr>
              <a:tblGrid>
                <a:gridCol w="2322250">
                  <a:extLst>
                    <a:ext uri="{9D8B030D-6E8A-4147-A177-3AD203B41FA5}">
                      <a16:colId xmlns:a16="http://schemas.microsoft.com/office/drawing/2014/main" val="20000"/>
                    </a:ext>
                  </a:extLst>
                </a:gridCol>
                <a:gridCol w="4327830">
                  <a:extLst>
                    <a:ext uri="{9D8B030D-6E8A-4147-A177-3AD203B41FA5}">
                      <a16:colId xmlns:a16="http://schemas.microsoft.com/office/drawing/2014/main" val="20001"/>
                    </a:ext>
                  </a:extLst>
                </a:gridCol>
                <a:gridCol w="4116716">
                  <a:extLst>
                    <a:ext uri="{9D8B030D-6E8A-4147-A177-3AD203B41FA5}">
                      <a16:colId xmlns:a16="http://schemas.microsoft.com/office/drawing/2014/main" val="20002"/>
                    </a:ext>
                  </a:extLst>
                </a:gridCol>
              </a:tblGrid>
              <a:tr h="724990">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endParaRPr kumimoji="0" lang="en-US" sz="2400" b="0" i="0" u="none" strike="noStrike" cap="none" normalizeH="0" baseline="0" dirty="0">
                        <a:ln>
                          <a:noFill/>
                        </a:ln>
                        <a:solidFill>
                          <a:schemeClr val="tx1"/>
                        </a:solidFill>
                        <a:effectLst/>
                        <a:latin typeface="Calibri" pitchFamily="34" charset="0"/>
                      </a:endParaRPr>
                    </a:p>
                  </a:txBody>
                  <a:tcPr marL="121888" marR="121888" horzOverflow="overflow">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400" b="1" u="none" strike="noStrike" cap="none" normalizeH="0" baseline="0" dirty="0">
                          <a:ln>
                            <a:noFill/>
                          </a:ln>
                          <a:effectLst/>
                        </a:rPr>
                        <a:t>Quality Assurance</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400" b="1" u="none" strike="noStrike" cap="none" normalizeH="0" baseline="0" dirty="0">
                          <a:ln>
                            <a:noFill/>
                          </a:ln>
                          <a:effectLst/>
                        </a:rPr>
                        <a:t>Quality Control</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35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000" b="1" i="1" u="none" strike="noStrike" cap="none" normalizeH="0" baseline="0" dirty="0">
                          <a:ln>
                            <a:noFill/>
                          </a:ln>
                          <a:effectLst/>
                        </a:rPr>
                        <a:t>Definition</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kumimoji="0" lang="en-US" sz="2000" u="none" strike="noStrike" cap="none" normalizeH="0" baseline="0" dirty="0">
                          <a:ln>
                            <a:noFill/>
                          </a:ln>
                          <a:effectLst/>
                        </a:rPr>
                        <a:t>Activities to ensure </a:t>
                      </a:r>
                      <a:r>
                        <a:rPr kumimoji="0" lang="en-US" sz="2000" u="sng" strike="noStrike" cap="none" normalizeH="0" baseline="0" dirty="0">
                          <a:ln>
                            <a:noFill/>
                          </a:ln>
                          <a:effectLst/>
                        </a:rPr>
                        <a:t>processes</a:t>
                      </a:r>
                      <a:r>
                        <a:rPr kumimoji="0" lang="en-US" sz="2000" u="none" strike="noStrike" cap="none" normalizeH="0" baseline="0" dirty="0">
                          <a:ln>
                            <a:noFill/>
                          </a:ln>
                          <a:effectLst/>
                        </a:rPr>
                        <a:t> are adequate for a system to achieve its objectives</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kumimoji="0" lang="en-US" sz="2000" u="none" strike="noStrike" cap="none" normalizeH="0" baseline="0" dirty="0">
                          <a:ln>
                            <a:noFill/>
                          </a:ln>
                          <a:effectLst/>
                        </a:rPr>
                        <a:t>Activities to evaluate a </a:t>
                      </a:r>
                      <a:r>
                        <a:rPr kumimoji="0" lang="en-US" sz="2000" u="sng" strike="noStrike" cap="none" normalizeH="0" baseline="0" dirty="0">
                          <a:ln>
                            <a:noFill/>
                          </a:ln>
                          <a:effectLst/>
                        </a:rPr>
                        <a:t>product</a:t>
                      </a:r>
                      <a:r>
                        <a:rPr kumimoji="0" lang="en-US" sz="2000" u="none" strike="noStrike" cap="none" normalizeH="0" baseline="0" dirty="0">
                          <a:ln>
                            <a:noFill/>
                          </a:ln>
                          <a:effectLst/>
                        </a:rPr>
                        <a:t> or work </a:t>
                      </a:r>
                      <a:r>
                        <a:rPr kumimoji="0" lang="en-US" sz="2000" u="sng" strike="noStrike" cap="none" normalizeH="0" baseline="0" dirty="0">
                          <a:ln>
                            <a:noFill/>
                          </a:ln>
                          <a:effectLst/>
                        </a:rPr>
                        <a:t>result</a:t>
                      </a:r>
                      <a:endParaRPr kumimoji="0" lang="en-US" sz="2000" b="0" i="0" u="sng"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63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000" b="1" i="1" u="none" strike="noStrike" cap="none" normalizeH="0" baseline="0" dirty="0">
                          <a:ln>
                            <a:noFill/>
                          </a:ln>
                          <a:effectLst/>
                        </a:rPr>
                        <a:t>Examples</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cap="none" normalizeH="0" baseline="0" dirty="0">
                          <a:ln>
                            <a:noFill/>
                          </a:ln>
                          <a:solidFill>
                            <a:schemeClr val="tx1"/>
                          </a:solidFill>
                          <a:effectLst/>
                        </a:rPr>
                        <a:t>Establish standard operating procedures for sample collection &amp; testing</a:t>
                      </a:r>
                    </a:p>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cap="none" normalizeH="0" baseline="0" dirty="0">
                          <a:ln>
                            <a:noFill/>
                          </a:ln>
                          <a:solidFill>
                            <a:schemeClr val="tx1"/>
                          </a:solidFill>
                          <a:effectLst/>
                        </a:rPr>
                        <a:t>Define criteria for acceptable samples</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kern="1200" cap="none" normalizeH="0" baseline="0" dirty="0">
                          <a:ln>
                            <a:noFill/>
                          </a:ln>
                          <a:solidFill>
                            <a:schemeClr val="tx1"/>
                          </a:solidFill>
                          <a:effectLst/>
                          <a:latin typeface="+mn-lt"/>
                          <a:ea typeface="+mn-ea"/>
                          <a:cs typeface="+mn-cs"/>
                        </a:rPr>
                        <a:t>Analyze known QC samples before a patient sample to determine if a test is valid</a:t>
                      </a:r>
                    </a:p>
                    <a:p>
                      <a:pPr marL="0" marR="0" lvl="0" indent="0" algn="l" defTabSz="914400" rtl="0" eaLnBrk="1" fontAlgn="base" latinLnBrk="0" hangingPunct="1">
                        <a:lnSpc>
                          <a:spcPct val="90000"/>
                        </a:lnSpc>
                        <a:spcBef>
                          <a:spcPct val="0"/>
                        </a:spcBef>
                        <a:spcAft>
                          <a:spcPct val="25000"/>
                        </a:spcAft>
                        <a:buClrTx/>
                        <a:buSzPct val="95000"/>
                        <a:buFontTx/>
                        <a:buNone/>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kern="1200" cap="none" normalizeH="0" baseline="0" dirty="0">
                          <a:ln>
                            <a:noFill/>
                          </a:ln>
                          <a:solidFill>
                            <a:schemeClr val="tx1"/>
                          </a:solidFill>
                          <a:effectLst/>
                          <a:latin typeface="+mn-lt"/>
                          <a:ea typeface="+mn-ea"/>
                          <a:cs typeface="+mn-cs"/>
                        </a:rPr>
                        <a:t>Decide if a sample is acceptable for testing</a:t>
                      </a: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1" name="Slide Number Placeholder 3"/>
          <p:cNvSpPr>
            <a:spLocks noGrp="1"/>
          </p:cNvSpPr>
          <p:nvPr>
            <p:ph type="sldNum" sz="quarter" idx="10"/>
          </p:nvPr>
        </p:nvSpPr>
        <p:spPr/>
        <p:txBody>
          <a:bodyPr/>
          <a:lstStyle/>
          <a:p>
            <a:fld id="{F19BED99-59E1-49C3-8B58-57831D85CA78}" type="slidenum">
              <a:rPr lang="en-US"/>
              <a:pPr/>
              <a:t>12</a:t>
            </a:fld>
            <a:endParaRPr lang="en-US"/>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808267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7922" name="Rectangle 2"/>
          <p:cNvSpPr>
            <a:spLocks noGrp="1" noChangeArrowheads="1"/>
          </p:cNvSpPr>
          <p:nvPr>
            <p:ph type="title"/>
          </p:nvPr>
        </p:nvSpPr>
        <p:spPr>
          <a:xfrm>
            <a:off x="0" y="0"/>
            <a:ext cx="12188825" cy="8382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y do errors occur? </a:t>
            </a:r>
          </a:p>
        </p:txBody>
      </p:sp>
      <p:sp>
        <p:nvSpPr>
          <p:cNvPr id="977923" name="Rectangle 3"/>
          <p:cNvSpPr>
            <a:spLocks noGrp="1" noChangeArrowheads="1"/>
          </p:cNvSpPr>
          <p:nvPr>
            <p:ph idx="1"/>
          </p:nvPr>
        </p:nvSpPr>
        <p:spPr>
          <a:xfrm>
            <a:off x="711016" y="1197595"/>
            <a:ext cx="10969943" cy="5279409"/>
          </a:xfrm>
        </p:spPr>
        <p:txBody>
          <a:bodyPr>
            <a:normAutofit/>
          </a:bodyPr>
          <a:lstStyle/>
          <a:p>
            <a:pPr>
              <a:lnSpc>
                <a:spcPct val="75000"/>
              </a:lnSpc>
              <a:buFontTx/>
              <a:buNone/>
            </a:pPr>
            <a:r>
              <a:rPr lang="en-US" sz="2400" b="1" dirty="0">
                <a:latin typeface="Calibri" pitchFamily="34" charset="0"/>
              </a:rPr>
              <a:t>Some causes include:</a:t>
            </a:r>
          </a:p>
          <a:p>
            <a:pPr>
              <a:lnSpc>
                <a:spcPct val="75000"/>
              </a:lnSpc>
              <a:buFontTx/>
              <a:buNone/>
            </a:pPr>
            <a:endParaRPr lang="en-US" sz="2400" dirty="0">
              <a:latin typeface="Calibri" pitchFamily="34" charset="0"/>
            </a:endParaRPr>
          </a:p>
          <a:p>
            <a:pPr>
              <a:lnSpc>
                <a:spcPct val="75000"/>
              </a:lnSpc>
            </a:pPr>
            <a:r>
              <a:rPr lang="en-US" sz="2000" dirty="0">
                <a:latin typeface="Calibri" pitchFamily="34" charset="0"/>
              </a:rPr>
              <a:t>Individual responsibilities are unclear</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No written procedures – SOPs/job aids are not available</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Written procedures are not followed </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Training is not done or not completed</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Test kits not stored properly </a:t>
            </a:r>
            <a:endParaRPr lang="en-US" sz="2000" i="1" dirty="0">
              <a:latin typeface="Calibri" pitchFamily="34" charset="0"/>
            </a:endParaRPr>
          </a:p>
          <a:p>
            <a:pPr>
              <a:lnSpc>
                <a:spcPct val="75000"/>
              </a:lnSpc>
            </a:pPr>
            <a:endParaRPr lang="en-US" sz="2000" dirty="0">
              <a:latin typeface="Calibri" pitchFamily="34" charset="0"/>
            </a:endParaRPr>
          </a:p>
          <a:p>
            <a:pPr>
              <a:lnSpc>
                <a:spcPct val="75000"/>
              </a:lnSpc>
            </a:pPr>
            <a:r>
              <a:rPr lang="en-US" sz="2000" dirty="0">
                <a:latin typeface="Calibri" pitchFamily="34" charset="0"/>
              </a:rPr>
              <a:t>QC or EQA is not performed</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Equipment is not properly maintained</a:t>
            </a:r>
          </a:p>
          <a:p>
            <a:pPr algn="ctr">
              <a:lnSpc>
                <a:spcPct val="75000"/>
              </a:lnSpc>
              <a:spcBef>
                <a:spcPct val="70000"/>
              </a:spcBef>
              <a:buFontTx/>
              <a:buNone/>
            </a:pPr>
            <a:r>
              <a:rPr lang="en-US" sz="2400" b="1" i="1" dirty="0">
                <a:solidFill>
                  <a:srgbClr val="FF0000"/>
                </a:solidFill>
                <a:latin typeface="Calibri" pitchFamily="34" charset="0"/>
              </a:rPr>
              <a:t>Errors can occur at any time throughout the testing process</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98143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 name="Slide Number Placeholder 1"/>
          <p:cNvSpPr>
            <a:spLocks noGrp="1"/>
          </p:cNvSpPr>
          <p:nvPr>
            <p:ph type="sldNum" sz="quarter" idx="12"/>
          </p:nvPr>
        </p:nvSpPr>
        <p:spPr/>
        <p:txBody>
          <a:bodyPr/>
          <a:lstStyle/>
          <a:p>
            <a:fld id="{E8680D0B-5DBE-4478-B4AD-4200CCA30372}" type="slidenum">
              <a:rPr lang="en-US"/>
              <a:pPr/>
              <a:t>14</a:t>
            </a:fld>
            <a:endParaRPr lang="en-US"/>
          </a:p>
        </p:txBody>
      </p:sp>
      <p:sp>
        <p:nvSpPr>
          <p:cNvPr id="952323" name="Text Box 3"/>
          <p:cNvSpPr txBox="1">
            <a:spLocks noChangeArrowheads="1"/>
          </p:cNvSpPr>
          <p:nvPr/>
        </p:nvSpPr>
        <p:spPr bwMode="auto">
          <a:xfrm>
            <a:off x="0" y="22"/>
            <a:ext cx="12188825" cy="830997"/>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baseline="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dirty="0"/>
              <a:t>Errors can occur at any phase of the testing process</a:t>
            </a:r>
          </a:p>
        </p:txBody>
      </p:sp>
      <p:grpSp>
        <p:nvGrpSpPr>
          <p:cNvPr id="3" name="Group 2"/>
          <p:cNvGrpSpPr/>
          <p:nvPr/>
        </p:nvGrpSpPr>
        <p:grpSpPr>
          <a:xfrm>
            <a:off x="2611359" y="914412"/>
            <a:ext cx="7286821" cy="5822555"/>
            <a:chOff x="2611351" y="914404"/>
            <a:chExt cx="7286820" cy="5822555"/>
          </a:xfrm>
        </p:grpSpPr>
        <p:sp>
          <p:nvSpPr>
            <p:cNvPr id="952322"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952324" name="WordArt 4"/>
            <p:cNvSpPr>
              <a:spLocks noChangeArrowheads="1" noChangeShapeType="1" noTextEdit="1"/>
            </p:cNvSpPr>
            <p:nvPr/>
          </p:nvSpPr>
          <p:spPr bwMode="auto">
            <a:xfrm rot="4275814">
              <a:off x="8416082" y="2660723"/>
              <a:ext cx="1857375"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re-Testing</a:t>
              </a:r>
            </a:p>
          </p:txBody>
        </p:sp>
        <p:sp>
          <p:nvSpPr>
            <p:cNvPr id="952325" name="WordArt 5"/>
            <p:cNvSpPr>
              <a:spLocks noChangeArrowheads="1" noChangeShapeType="1" noTextEdit="1"/>
            </p:cNvSpPr>
            <p:nvPr/>
          </p:nvSpPr>
          <p:spPr bwMode="auto">
            <a:xfrm>
              <a:off x="5281824" y="6276975"/>
              <a:ext cx="1904504" cy="459984"/>
            </a:xfrm>
            <a:prstGeom prst="rect">
              <a:avLst/>
            </a:prstGeom>
          </p:spPr>
          <p:txBody>
            <a:bodyPr wrap="none" fromWordArt="1">
              <a:prstTxWarp prst="textCanDown">
                <a:avLst>
                  <a:gd name="adj" fmla="val 33333"/>
                </a:avLst>
              </a:prstTxWarp>
            </a:bodyPr>
            <a:lstStyle/>
            <a:p>
              <a:pPr algn="ctr" defTabSz="457200" fontAlgn="base">
                <a:spcBef>
                  <a:spcPct val="0"/>
                </a:spcBef>
                <a:spcAft>
                  <a:spcPct val="0"/>
                </a:spcAft>
              </a:pPr>
              <a:r>
                <a:rPr lang="en-US" sz="3600" kern="10" dirty="0">
                  <a:ln w="9525">
                    <a:noFill/>
                    <a:round/>
                    <a:headEnd/>
                    <a:tailEnd/>
                  </a:ln>
                  <a:latin typeface="Arial"/>
                  <a:ea typeface="ＭＳ Ｐゴシック" pitchFamily="34" charset="-128"/>
                  <a:cs typeface="Arial"/>
                </a:rPr>
                <a:t>Testing</a:t>
              </a:r>
            </a:p>
          </p:txBody>
        </p:sp>
        <p:sp>
          <p:nvSpPr>
            <p:cNvPr id="952326"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ost-Testing</a:t>
              </a:r>
            </a:p>
          </p:txBody>
        </p:sp>
        <p:pic>
          <p:nvPicPr>
            <p:cNvPr id="952327" name="Picture 7"/>
            <p:cNvPicPr>
              <a:picLocks noChangeAspect="1" noChangeArrowheads="1"/>
            </p:cNvPicPr>
            <p:nvPr/>
          </p:nvPicPr>
          <p:blipFill>
            <a:blip r:embed="rId3"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952328" name="Picture 8"/>
            <p:cNvPicPr>
              <a:picLocks noChangeAspect="1" noChangeArrowheads="1"/>
            </p:cNvPicPr>
            <p:nvPr/>
          </p:nvPicPr>
          <p:blipFill>
            <a:blip r:embed="rId4"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952329" name="Picture 9"/>
            <p:cNvPicPr>
              <a:picLocks noChangeAspect="1" noChangeArrowheads="1"/>
            </p:cNvPicPr>
            <p:nvPr/>
          </p:nvPicPr>
          <p:blipFill>
            <a:blip r:embed="rId5"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952330" name="Picture 10"/>
            <p:cNvPicPr>
              <a:picLocks noChangeAspect="1" noChangeArrowheads="1"/>
            </p:cNvPicPr>
            <p:nvPr/>
          </p:nvPicPr>
          <p:blipFill>
            <a:blip r:embed="rId6"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952331" name="Picture 11"/>
            <p:cNvPicPr>
              <a:picLocks noChangeAspect="1" noChangeArrowheads="1"/>
            </p:cNvPicPr>
            <p:nvPr/>
          </p:nvPicPr>
          <p:blipFill>
            <a:blip r:embed="rId7"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952332" name="Picture 12"/>
            <p:cNvPicPr>
              <a:picLocks noChangeAspect="1" noChangeArrowheads="1"/>
            </p:cNvPicPr>
            <p:nvPr/>
          </p:nvPicPr>
          <p:blipFill>
            <a:blip r:embed="rId8"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952333" name="Picture 13"/>
            <p:cNvPicPr>
              <a:picLocks noChangeAspect="1" noChangeArrowheads="1"/>
            </p:cNvPicPr>
            <p:nvPr/>
          </p:nvPicPr>
          <p:blipFill>
            <a:blip r:embed="rId9"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952334" name="Picture 14"/>
            <p:cNvPicPr>
              <a:picLocks noChangeAspect="1" noChangeArrowheads="1"/>
            </p:cNvPicPr>
            <p:nvPr/>
          </p:nvPicPr>
          <p:blipFill>
            <a:blip r:embed="rId10"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952335"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6"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7"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952338" name="Text Box 18"/>
            <p:cNvSpPr txBox="1">
              <a:spLocks noChangeArrowheads="1"/>
            </p:cNvSpPr>
            <p:nvPr/>
          </p:nvSpPr>
          <p:spPr bwMode="auto">
            <a:xfrm>
              <a:off x="4951415" y="2971802"/>
              <a:ext cx="2457270" cy="1200329"/>
            </a:xfrm>
            <a:prstGeom prst="rect">
              <a:avLst/>
            </a:prstGeom>
            <a:noFill/>
            <a:ln w="9525">
              <a:noFill/>
              <a:miter lim="800000"/>
              <a:headEnd/>
              <a:tailEnd/>
            </a:ln>
            <a:effectLst/>
          </p:spPr>
          <p:txBody>
            <a:bodyPr wrap="square">
              <a:spAutoFit/>
            </a:bodyPr>
            <a:lstStyle/>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Data and Laboratory Management</a:t>
              </a:r>
            </a:p>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Safety</a:t>
              </a:r>
            </a:p>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Customer Service</a:t>
              </a:r>
            </a:p>
          </p:txBody>
        </p:sp>
        <p:pic>
          <p:nvPicPr>
            <p:cNvPr id="952339" name="Picture 19"/>
            <p:cNvPicPr>
              <a:picLocks noChangeAspect="1" noChangeArrowheads="1"/>
            </p:cNvPicPr>
            <p:nvPr/>
          </p:nvPicPr>
          <p:blipFill>
            <a:blip r:embed="rId11"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952340" name="Text Box 20"/>
            <p:cNvSpPr txBox="1">
              <a:spLocks noChangeArrowheads="1"/>
            </p:cNvSpPr>
            <p:nvPr/>
          </p:nvSpPr>
          <p:spPr bwMode="auto">
            <a:xfrm>
              <a:off x="5510542" y="1915180"/>
              <a:ext cx="1574470" cy="523220"/>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Patient/Client Prep</a:t>
              </a:r>
            </a:p>
            <a:p>
              <a:pPr defTabSz="457200" eaLnBrk="0" fontAlgn="base" hangingPunct="0">
                <a:spcBef>
                  <a:spcPct val="0"/>
                </a:spcBef>
                <a:spcAft>
                  <a:spcPct val="0"/>
                </a:spcAft>
              </a:pPr>
              <a:r>
                <a:rPr lang="en-US" sz="1400" dirty="0">
                  <a:solidFill>
                    <a:schemeClr val="bg1"/>
                  </a:solidFill>
                  <a:ea typeface="ＭＳ Ｐゴシック" pitchFamily="34" charset="-128"/>
                </a:rPr>
                <a:t>Sample Collection</a:t>
              </a:r>
            </a:p>
          </p:txBody>
        </p:sp>
        <p:sp>
          <p:nvSpPr>
            <p:cNvPr id="952341" name="Text Box 21"/>
            <p:cNvSpPr txBox="1">
              <a:spLocks noChangeArrowheads="1"/>
            </p:cNvSpPr>
            <p:nvPr/>
          </p:nvSpPr>
          <p:spPr bwMode="auto">
            <a:xfrm>
              <a:off x="7358832" y="3733805"/>
              <a:ext cx="2539339" cy="581025"/>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Receipt </a:t>
              </a:r>
            </a:p>
            <a:p>
              <a:pPr defTabSz="457200" eaLnBrk="0" fontAlgn="base" hangingPunct="0">
                <a:spcBef>
                  <a:spcPct val="0"/>
                </a:spcBef>
                <a:spcAft>
                  <a:spcPct val="0"/>
                </a:spcAft>
              </a:pPr>
              <a:r>
                <a:rPr lang="en-US" sz="1600" dirty="0">
                  <a:solidFill>
                    <a:schemeClr val="bg1"/>
                  </a:solidFill>
                  <a:ea typeface="ＭＳ Ｐゴシック" pitchFamily="34" charset="-128"/>
                </a:rPr>
                <a:t>and Accessioning</a:t>
              </a:r>
            </a:p>
          </p:txBody>
        </p:sp>
        <p:sp>
          <p:nvSpPr>
            <p:cNvPr id="952342" name="Text Box 22"/>
            <p:cNvSpPr txBox="1">
              <a:spLocks noChangeArrowheads="1"/>
            </p:cNvSpPr>
            <p:nvPr/>
          </p:nvSpPr>
          <p:spPr bwMode="auto">
            <a:xfrm>
              <a:off x="7535948" y="4842309"/>
              <a:ext cx="982064" cy="584775"/>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a:t>
              </a:r>
            </a:p>
            <a:p>
              <a:pPr defTabSz="457200" eaLnBrk="0" fontAlgn="base" hangingPunct="0">
                <a:spcBef>
                  <a:spcPct val="0"/>
                </a:spcBef>
                <a:spcAft>
                  <a:spcPct val="0"/>
                </a:spcAft>
              </a:pPr>
              <a:r>
                <a:rPr lang="en-US" sz="1600" dirty="0">
                  <a:solidFill>
                    <a:schemeClr val="bg1"/>
                  </a:solidFill>
                  <a:ea typeface="ＭＳ Ｐゴシック" pitchFamily="34" charset="-128"/>
                </a:rPr>
                <a:t>Transport</a:t>
              </a:r>
            </a:p>
          </p:txBody>
        </p:sp>
        <p:sp>
          <p:nvSpPr>
            <p:cNvPr id="952343" name="Text Box 23"/>
            <p:cNvSpPr txBox="1">
              <a:spLocks noChangeArrowheads="1"/>
            </p:cNvSpPr>
            <p:nvPr/>
          </p:nvSpPr>
          <p:spPr bwMode="auto">
            <a:xfrm>
              <a:off x="5180250" y="5479048"/>
              <a:ext cx="1445780" cy="338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Quality Control</a:t>
              </a:r>
            </a:p>
          </p:txBody>
        </p:sp>
        <p:sp>
          <p:nvSpPr>
            <p:cNvPr id="952344" name="Text Box 24"/>
            <p:cNvSpPr txBox="1">
              <a:spLocks noChangeArrowheads="1"/>
            </p:cNvSpPr>
            <p:nvPr/>
          </p:nvSpPr>
          <p:spPr bwMode="auto">
            <a:xfrm>
              <a:off x="3148581" y="4648200"/>
              <a:ext cx="2183831" cy="336550"/>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cord Keeping</a:t>
              </a:r>
            </a:p>
          </p:txBody>
        </p:sp>
        <p:sp>
          <p:nvSpPr>
            <p:cNvPr id="952345" name="Text Box 25"/>
            <p:cNvSpPr txBox="1">
              <a:spLocks noChangeArrowheads="1"/>
            </p:cNvSpPr>
            <p:nvPr/>
          </p:nvSpPr>
          <p:spPr bwMode="auto">
            <a:xfrm>
              <a:off x="3148785" y="2590800"/>
              <a:ext cx="1417797" cy="336550"/>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porting</a:t>
              </a:r>
            </a:p>
          </p:txBody>
        </p:sp>
        <p:pic>
          <p:nvPicPr>
            <p:cNvPr id="952346" name="Picture 26"/>
            <p:cNvPicPr>
              <a:picLocks noChangeAspect="1" noChangeArrowheads="1"/>
            </p:cNvPicPr>
            <p:nvPr/>
          </p:nvPicPr>
          <p:blipFill>
            <a:blip r:embed="rId11"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952347" name="Text Box 27"/>
            <p:cNvSpPr txBox="1">
              <a:spLocks noChangeArrowheads="1"/>
            </p:cNvSpPr>
            <p:nvPr/>
          </p:nvSpPr>
          <p:spPr bwMode="auto">
            <a:xfrm>
              <a:off x="7085440" y="2356656"/>
              <a:ext cx="2336191" cy="523220"/>
            </a:xfrm>
            <a:prstGeom prst="rect">
              <a:avLst/>
            </a:prstGeom>
            <a:noFill/>
            <a:ln w="9525">
              <a:noFill/>
              <a:miter lim="800000"/>
              <a:headEnd/>
              <a:tailEnd/>
            </a:ln>
            <a:effectLst/>
          </p:spPr>
          <p:txBody>
            <a:bodyPr wrap="squar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Staff Competency</a:t>
              </a:r>
            </a:p>
            <a:p>
              <a:pPr defTabSz="457200" eaLnBrk="0" fontAlgn="base" hangingPunct="0">
                <a:spcBef>
                  <a:spcPct val="0"/>
                </a:spcBef>
                <a:spcAft>
                  <a:spcPct val="0"/>
                </a:spcAft>
              </a:pPr>
              <a:r>
                <a:rPr lang="en-US" sz="1400" dirty="0">
                  <a:solidFill>
                    <a:schemeClr val="bg1"/>
                  </a:solidFill>
                  <a:ea typeface="ＭＳ Ｐゴシック" pitchFamily="34" charset="-128"/>
                </a:rPr>
                <a:t>Test Evaluations</a:t>
              </a:r>
            </a:p>
          </p:txBody>
        </p:sp>
        <p:sp>
          <p:nvSpPr>
            <p:cNvPr id="952348" name="Text Box 28"/>
            <p:cNvSpPr txBox="1">
              <a:spLocks noChangeArrowheads="1"/>
            </p:cNvSpPr>
            <p:nvPr/>
          </p:nvSpPr>
          <p:spPr bwMode="auto">
            <a:xfrm>
              <a:off x="5553676" y="5731877"/>
              <a:ext cx="765274" cy="338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Testing</a:t>
              </a:r>
            </a:p>
          </p:txBody>
        </p:sp>
        <p:pic>
          <p:nvPicPr>
            <p:cNvPr id="952349" name="Picture 29" descr="bs00554_"/>
            <p:cNvPicPr>
              <a:picLocks noChangeAspect="1" noChangeArrowheads="1"/>
            </p:cNvPicPr>
            <p:nvPr/>
          </p:nvPicPr>
          <p:blipFill>
            <a:blip r:embed="rId12" cstate="print"/>
            <a:srcRect/>
            <a:stretch>
              <a:fillRect/>
            </a:stretch>
          </p:blipFill>
          <p:spPr bwMode="auto">
            <a:xfrm>
              <a:off x="3351927" y="3962407"/>
              <a:ext cx="1422030" cy="695325"/>
            </a:xfrm>
            <a:prstGeom prst="rect">
              <a:avLst/>
            </a:prstGeom>
            <a:noFill/>
          </p:spPr>
        </p:pic>
      </p:grpSp>
      <p:sp>
        <p:nvSpPr>
          <p:cNvPr id="32" name="Oval 31">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4" name="TextBox 3"/>
          <p:cNvSpPr txBox="1"/>
          <p:nvPr/>
        </p:nvSpPr>
        <p:spPr>
          <a:xfrm>
            <a:off x="9895588" y="1777581"/>
            <a:ext cx="2293237" cy="1346627"/>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pecimen not labelled properly</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pecimen stored incorrectly </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Test kits stored incorrectly</a:t>
            </a:r>
          </a:p>
        </p:txBody>
      </p:sp>
      <p:sp>
        <p:nvSpPr>
          <p:cNvPr id="37" name="TextBox 36"/>
          <p:cNvSpPr txBox="1"/>
          <p:nvPr/>
        </p:nvSpPr>
        <p:spPr>
          <a:xfrm>
            <a:off x="7568667" y="5892373"/>
            <a:ext cx="4012145" cy="1346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OP not followed correctly</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Incorrect timing of test</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Incorrect reagents used</a:t>
            </a: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
        <p:nvSpPr>
          <p:cNvPr id="38" name="TextBox 37"/>
          <p:cNvSpPr txBox="1"/>
          <p:nvPr/>
        </p:nvSpPr>
        <p:spPr>
          <a:xfrm>
            <a:off x="74612" y="4006460"/>
            <a:ext cx="3097983" cy="151490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Transcription error in recording </a:t>
            </a:r>
            <a:br>
              <a:rPr lang="en-US" sz="1400" dirty="0">
                <a:solidFill>
                  <a:srgbClr val="FF0000"/>
                </a:solidFill>
                <a:ea typeface="ＭＳ 明朝"/>
                <a:cs typeface="Times New Roman"/>
              </a:rPr>
            </a:br>
            <a:r>
              <a:rPr lang="en-US" sz="1400" dirty="0">
                <a:solidFill>
                  <a:srgbClr val="FF0000"/>
                </a:solidFill>
                <a:ea typeface="ＭＳ 明朝"/>
                <a:cs typeface="Times New Roman"/>
              </a:rPr>
              <a:t>test result</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Record not legible</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Report sent to wrong location</a:t>
            </a: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Tree>
    <p:extLst>
      <p:ext uri="{BB962C8B-B14F-4D97-AF65-F5344CB8AC3E}">
        <p14:creationId xmlns:p14="http://schemas.microsoft.com/office/powerpoint/2010/main" val="300786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188825" cy="9280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rouble shooting errors </a:t>
            </a:r>
          </a:p>
        </p:txBody>
      </p:sp>
      <p:sp>
        <p:nvSpPr>
          <p:cNvPr id="2" name="Content Placeholder 1"/>
          <p:cNvSpPr>
            <a:spLocks noGrp="1"/>
          </p:cNvSpPr>
          <p:nvPr>
            <p:ph idx="1"/>
          </p:nvPr>
        </p:nvSpPr>
        <p:spPr>
          <a:xfrm>
            <a:off x="382358" y="1889081"/>
            <a:ext cx="5484973" cy="4511719"/>
          </a:xfrm>
          <a:ln>
            <a:solidFill>
              <a:schemeClr val="accent1"/>
            </a:solidFill>
          </a:ln>
        </p:spPr>
        <p:txBody>
          <a:bodyPr>
            <a:normAutofit/>
          </a:bodyPr>
          <a:lstStyle/>
          <a:p>
            <a:endParaRPr lang="en-US" sz="2200" dirty="0">
              <a:latin typeface="Calibri" pitchFamily="34" charset="0"/>
            </a:endParaRPr>
          </a:p>
          <a:p>
            <a:r>
              <a:rPr lang="en-US" sz="1900" dirty="0"/>
              <a:t>In case of an issue, a message will be displayed (often, with an error code) </a:t>
            </a:r>
          </a:p>
          <a:p>
            <a:endParaRPr lang="en-US" sz="1900" dirty="0"/>
          </a:p>
          <a:p>
            <a:r>
              <a:rPr lang="en-US" sz="1900" dirty="0"/>
              <a:t>Refer to the Operator’s Manual and look for the error code, follow the recommended corrective actions</a:t>
            </a:r>
          </a:p>
          <a:p>
            <a:endParaRPr lang="en-US" sz="1900" dirty="0"/>
          </a:p>
          <a:p>
            <a:r>
              <a:rPr lang="en-US" sz="1900" dirty="0"/>
              <a:t>If the problem persists, contact supervisors </a:t>
            </a:r>
            <a:endParaRPr lang="en-US" sz="1900" dirty="0">
              <a:latin typeface="Calibri" pitchFamily="34" charset="0"/>
            </a:endParaRPr>
          </a:p>
          <a:p>
            <a:pPr marL="0" indent="0">
              <a:buNone/>
            </a:pPr>
            <a:endParaRPr lang="en-US" sz="1900" dirty="0"/>
          </a:p>
          <a:p>
            <a:r>
              <a:rPr lang="en-US" sz="1900" dirty="0"/>
              <a:t>In case of a discordant result, refer to SOPs or contact supervisor </a:t>
            </a:r>
          </a:p>
          <a:p>
            <a:endParaRPr lang="en-US" sz="2000" dirty="0">
              <a:latin typeface="Calibri" pitchFamily="34" charset="0"/>
            </a:endParaRPr>
          </a:p>
          <a:p>
            <a:endParaRPr lang="en-US" sz="2200" dirty="0">
              <a:latin typeface="Calibri" pitchFamily="34" charset="0"/>
            </a:endParaRPr>
          </a:p>
        </p:txBody>
      </p:sp>
      <p:sp>
        <p:nvSpPr>
          <p:cNvPr id="4" name="Content Placeholder 1"/>
          <p:cNvSpPr txBox="1">
            <a:spLocks/>
          </p:cNvSpPr>
          <p:nvPr/>
        </p:nvSpPr>
        <p:spPr>
          <a:xfrm>
            <a:off x="6172043" y="1889078"/>
            <a:ext cx="5484971" cy="4511722"/>
          </a:xfrm>
          <a:prstGeom prst="rect">
            <a:avLst/>
          </a:prstGeom>
          <a:ln>
            <a:solidFill>
              <a:schemeClr val="accent1"/>
            </a:solidFill>
          </a:ln>
        </p:spPr>
        <p:txBody>
          <a:bodyPr vert="horz">
            <a:normAutofit lnSpcReduction="10000"/>
          </a:bodyPr>
          <a:lstStyle/>
          <a:p>
            <a:pPr marL="365760" indent="-256032">
              <a:spcBef>
                <a:spcPts val="300"/>
              </a:spcBef>
              <a:buClr>
                <a:srgbClr val="9BBB59"/>
              </a:buClr>
              <a:buFont typeface="Georgia"/>
              <a:buNone/>
              <a:defRPr/>
            </a:pPr>
            <a:endParaRPr lang="en-US" sz="24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Make sure POC test cartridge is filled properly following the SOP (exact volume, no air bubbles)</a:t>
            </a:r>
          </a:p>
          <a:p>
            <a:pPr marL="109728">
              <a:spcBef>
                <a:spcPts val="300"/>
              </a:spcBef>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Ensure there is no sample leakage/spills before closing the lid and running the test</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Make sure NO vibration/machine movements while test is running </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On </a:t>
            </a:r>
            <a:r>
              <a:rPr lang="en-US" sz="1900" dirty="0" err="1">
                <a:solidFill>
                  <a:prstClr val="black"/>
                </a:solidFill>
                <a:ea typeface="ＭＳ Ｐゴシック" pitchFamily="34" charset="-128"/>
              </a:rPr>
              <a:t>mPima</a:t>
            </a:r>
            <a:r>
              <a:rPr lang="en-US" sz="1900" dirty="0">
                <a:solidFill>
                  <a:prstClr val="black"/>
                </a:solidFill>
                <a:ea typeface="ＭＳ Ｐゴシック" pitchFamily="34" charset="-128"/>
              </a:rPr>
              <a:t>, make sure channel window is clean (no dirt and smudges)</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On GeneXpert, do the </a:t>
            </a:r>
            <a:r>
              <a:rPr lang="en-US" sz="1900" dirty="0" err="1">
                <a:solidFill>
                  <a:prstClr val="black"/>
                </a:solidFill>
                <a:ea typeface="ＭＳ Ｐゴシック" pitchFamily="34" charset="-128"/>
              </a:rPr>
              <a:t>Xpert</a:t>
            </a:r>
            <a:r>
              <a:rPr lang="en-US" sz="1900" dirty="0">
                <a:solidFill>
                  <a:prstClr val="black"/>
                </a:solidFill>
                <a:ea typeface="ＭＳ Ｐゴシック" pitchFamily="34" charset="-128"/>
              </a:rPr>
              <a:t> Check or calibration check once a year or as needed</a:t>
            </a:r>
          </a:p>
          <a:p>
            <a:pPr marL="365760" indent="-256032">
              <a:spcBef>
                <a:spcPts val="300"/>
              </a:spcBef>
              <a:buFont typeface="Georgia"/>
              <a:buChar char="•"/>
              <a:defRPr/>
            </a:pPr>
            <a:endParaRPr lang="en-US" sz="2400" dirty="0">
              <a:solidFill>
                <a:prstClr val="black"/>
              </a:solidFill>
              <a:ea typeface="ＭＳ Ｐゴシック" pitchFamily="34" charset="-128"/>
            </a:endParaRPr>
          </a:p>
          <a:p>
            <a:pPr marL="365760" indent="-256032">
              <a:spcBef>
                <a:spcPts val="300"/>
              </a:spcBef>
              <a:buFont typeface="Georgia"/>
              <a:buChar char="•"/>
              <a:defRPr/>
            </a:pPr>
            <a:endParaRPr lang="en-US" sz="2400" dirty="0">
              <a:solidFill>
                <a:prstClr val="black"/>
              </a:solidFill>
              <a:ea typeface="ＭＳ Ｐゴシック" pitchFamily="34" charset="-128"/>
            </a:endParaRPr>
          </a:p>
        </p:txBody>
      </p:sp>
      <p:sp>
        <p:nvSpPr>
          <p:cNvPr id="5" name="TextBox 4"/>
          <p:cNvSpPr txBox="1"/>
          <p:nvPr/>
        </p:nvSpPr>
        <p:spPr>
          <a:xfrm>
            <a:off x="382350" y="1097527"/>
            <a:ext cx="5484971" cy="67972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What do I do when an error occurs on my POC device?</a:t>
            </a:r>
          </a:p>
        </p:txBody>
      </p:sp>
      <p:sp>
        <p:nvSpPr>
          <p:cNvPr id="6" name="TextBox 5"/>
          <p:cNvSpPr txBox="1"/>
          <p:nvPr/>
        </p:nvSpPr>
        <p:spPr>
          <a:xfrm>
            <a:off x="6172043" y="1097506"/>
            <a:ext cx="5484971" cy="652432"/>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How can we avoid errors and POC testing downtime?</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065099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3"/>
            <a:ext cx="12188825" cy="121919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defTabSz="914400" eaLnBrk="1" hangingPunct="1"/>
            <a:r>
              <a:rPr lang="en-US" sz="2400" dirty="0">
                <a:ea typeface="+mj-ea"/>
                <a:cs typeface="+mj-cs"/>
              </a:rPr>
              <a:t>Site supervision and mentorship help to identify testing issues early in order to take </a:t>
            </a:r>
            <a:br>
              <a:rPr lang="en-US" sz="2400" dirty="0">
                <a:ea typeface="+mj-ea"/>
                <a:cs typeface="+mj-cs"/>
              </a:rPr>
            </a:br>
            <a:r>
              <a:rPr lang="en-US" sz="2400" dirty="0">
                <a:ea typeface="+mj-ea"/>
                <a:cs typeface="+mj-cs"/>
              </a:rPr>
              <a:t>corrective and preventive actions</a:t>
            </a:r>
          </a:p>
        </p:txBody>
      </p:sp>
      <p:graphicFrame>
        <p:nvGraphicFramePr>
          <p:cNvPr id="3" name="Diagram 2"/>
          <p:cNvGraphicFramePr/>
          <p:nvPr>
            <p:extLst>
              <p:ext uri="{D42A27DB-BD31-4B8C-83A1-F6EECF244321}">
                <p14:modId xmlns:p14="http://schemas.microsoft.com/office/powerpoint/2010/main" val="2932037344"/>
              </p:ext>
            </p:extLst>
          </p:nvPr>
        </p:nvGraphicFramePr>
        <p:xfrm>
          <a:off x="248305" y="1397000"/>
          <a:ext cx="11443951" cy="505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26724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6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Summary: Why is a Quality System important for POC testing? </a:t>
            </a:r>
          </a:p>
        </p:txBody>
      </p:sp>
      <p:sp>
        <p:nvSpPr>
          <p:cNvPr id="860164" name="Rectangle 4"/>
          <p:cNvSpPr>
            <a:spLocks noGrp="1" noChangeArrowheads="1"/>
          </p:cNvSpPr>
          <p:nvPr>
            <p:ph idx="1"/>
          </p:nvPr>
        </p:nvSpPr>
        <p:spPr>
          <a:xfrm>
            <a:off x="507776" y="1371600"/>
            <a:ext cx="11225436" cy="4490114"/>
          </a:xfrm>
          <a:ln/>
        </p:spPr>
        <p:style>
          <a:lnRef idx="2">
            <a:schemeClr val="dk1"/>
          </a:lnRef>
          <a:fillRef idx="1">
            <a:schemeClr val="lt1"/>
          </a:fillRef>
          <a:effectRef idx="0">
            <a:schemeClr val="dk1"/>
          </a:effectRef>
          <a:fontRef idx="minor">
            <a:schemeClr val="dk1"/>
          </a:fontRef>
        </p:style>
        <p:txBody>
          <a:bodyPr>
            <a:normAutofit fontScale="92500"/>
          </a:bodyPr>
          <a:lstStyle/>
          <a:p>
            <a:pPr>
              <a:lnSpc>
                <a:spcPct val="80000"/>
              </a:lnSpc>
            </a:pPr>
            <a:endParaRPr lang="en-US" sz="2000" dirty="0">
              <a:latin typeface="Calibri" pitchFamily="34" charset="0"/>
            </a:endParaRPr>
          </a:p>
          <a:p>
            <a:pPr>
              <a:lnSpc>
                <a:spcPct val="80000"/>
              </a:lnSpc>
            </a:pPr>
            <a:r>
              <a:rPr lang="en-US" sz="2200" dirty="0">
                <a:latin typeface="Calibri" pitchFamily="34" charset="0"/>
              </a:rPr>
              <a:t>Quality is the foundation of everything we do </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The Quality System sets the standard for the level of quality the facility will achieve </a:t>
            </a:r>
          </a:p>
          <a:p>
            <a:pPr>
              <a:lnSpc>
                <a:spcPct val="80000"/>
              </a:lnSpc>
            </a:pPr>
            <a:endParaRPr lang="en-US" sz="2200" dirty="0">
              <a:latin typeface="Calibri" pitchFamily="34" charset="0"/>
            </a:endParaRPr>
          </a:p>
          <a:p>
            <a:pPr>
              <a:lnSpc>
                <a:spcPct val="80000"/>
              </a:lnSpc>
            </a:pPr>
            <a:r>
              <a:rPr lang="en-US" sz="2200" dirty="0">
                <a:latin typeface="Calibri" pitchFamily="34" charset="0"/>
              </a:rPr>
              <a:t>Prevents misdiagnoses that affect the quality of life of the clients/patient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Allows facility to meet client/patient expectation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Provides means to prevent, detect and correct problems/errors – monitors all parts of testing system</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Is the core of a monitoring, evaluation, &amp; improvement system consistent between testing site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Reduces costs by reducing wastage </a:t>
            </a:r>
          </a:p>
        </p:txBody>
      </p:sp>
      <p:sp>
        <p:nvSpPr>
          <p:cNvPr id="860165" name="Text Box 5"/>
          <p:cNvSpPr txBox="1">
            <a:spLocks noChangeArrowheads="1"/>
          </p:cNvSpPr>
          <p:nvPr/>
        </p:nvSpPr>
        <p:spPr bwMode="auto">
          <a:xfrm>
            <a:off x="1546344" y="6019818"/>
            <a:ext cx="8805061" cy="461665"/>
          </a:xfrm>
          <a:prstGeom prst="rect">
            <a:avLst/>
          </a:prstGeom>
          <a:noFill/>
          <a:ln w="12700">
            <a:noFill/>
            <a:miter lim="800000"/>
            <a:headEnd/>
            <a:tailEnd/>
          </a:ln>
          <a:effectLst/>
        </p:spPr>
        <p:txBody>
          <a:bodyPr wrap="square">
            <a:spAutoFit/>
          </a:bodyPr>
          <a:lstStyle/>
          <a:p>
            <a:pPr algn="ctr" defTabSz="457200" eaLnBrk="0" fontAlgn="base" hangingPunct="0">
              <a:spcBef>
                <a:spcPct val="0"/>
              </a:spcBef>
              <a:spcAft>
                <a:spcPct val="0"/>
              </a:spcAft>
            </a:pPr>
            <a:r>
              <a:rPr lang="en-US" sz="2400" b="1" i="1" dirty="0">
                <a:solidFill>
                  <a:srgbClr val="C00000"/>
                </a:solidFill>
                <a:ea typeface="ＭＳ Ｐゴシック" pitchFamily="34" charset="-128"/>
              </a:rPr>
              <a:t>Even the simplest test is not foolproof!!!</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182382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32281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8</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2388433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hat is a biohazard and why is it important to take safety precautions in the lab?</a:t>
            </a:r>
          </a:p>
        </p:txBody>
      </p:sp>
      <p:sp>
        <p:nvSpPr>
          <p:cNvPr id="14338" name="Rectangle 3"/>
          <p:cNvSpPr>
            <a:spLocks noGrp="1" noChangeArrowheads="1"/>
          </p:cNvSpPr>
          <p:nvPr>
            <p:ph idx="1"/>
          </p:nvPr>
        </p:nvSpPr>
        <p:spPr>
          <a:xfrm>
            <a:off x="711015" y="1295400"/>
            <a:ext cx="10563648" cy="5029200"/>
          </a:xfrm>
        </p:spPr>
        <p:txBody>
          <a:bodyPr>
            <a:normAutofit/>
          </a:bodyPr>
          <a:lstStyle/>
          <a:p>
            <a:pPr marL="60325" indent="0" fontAlgn="auto">
              <a:spcAft>
                <a:spcPts val="0"/>
              </a:spcAft>
              <a:buClr>
                <a:schemeClr val="bg1"/>
              </a:buClr>
              <a:buNone/>
              <a:defRPr/>
            </a:pPr>
            <a:r>
              <a:rPr lang="en-US" sz="2000" dirty="0">
                <a:latin typeface="Calibri" pitchFamily="34" charset="0"/>
              </a:rPr>
              <a:t>A biohazard is a biological agent, infectious material or derived products capable of causing harm to humans, animals and plants</a:t>
            </a:r>
          </a:p>
          <a:p>
            <a:pPr marL="60325" indent="0" fontAlgn="auto">
              <a:spcAft>
                <a:spcPts val="0"/>
              </a:spcAft>
              <a:buClr>
                <a:schemeClr val="bg1"/>
              </a:buClr>
              <a:buNone/>
              <a:defRPr/>
            </a:pPr>
            <a:endParaRPr lang="en-US" sz="2000" dirty="0">
              <a:latin typeface="Calibri" pitchFamily="34" charset="0"/>
            </a:endParaRPr>
          </a:p>
          <a:p>
            <a:pPr marL="60325" indent="0" fontAlgn="auto">
              <a:spcAft>
                <a:spcPts val="0"/>
              </a:spcAft>
              <a:buClr>
                <a:schemeClr val="bg1"/>
              </a:buClr>
              <a:buNone/>
              <a:defRPr/>
            </a:pPr>
            <a:r>
              <a:rPr lang="en-US" sz="2000" dirty="0">
                <a:latin typeface="Calibri" pitchFamily="34" charset="0"/>
              </a:rPr>
              <a:t>Coming in contact with biohazards – such human blood or blood products – is potentially dangerous</a:t>
            </a:r>
          </a:p>
          <a:p>
            <a:pPr marL="60325" indent="0" fontAlgn="auto">
              <a:spcAft>
                <a:spcPts val="0"/>
              </a:spcAft>
              <a:buClr>
                <a:schemeClr val="bg1"/>
              </a:buClr>
              <a:buNone/>
              <a:defRPr/>
            </a:pPr>
            <a:endParaRPr lang="en-US" sz="2400" dirty="0">
              <a:latin typeface="Calibri" pitchFamily="34" charset="0"/>
            </a:endParaRPr>
          </a:p>
          <a:p>
            <a:pPr marL="365760" indent="-256032" fontAlgn="auto">
              <a:spcAft>
                <a:spcPts val="0"/>
              </a:spcAft>
              <a:buClr>
                <a:schemeClr val="bg1"/>
              </a:buClr>
              <a:buFont typeface="Georgia"/>
              <a:buChar char="•"/>
              <a:defRPr/>
            </a:pPr>
            <a:endParaRPr lang="en-US" sz="2400" dirty="0">
              <a:latin typeface="Calibri" pitchFamily="34" charset="0"/>
            </a:endParaRPr>
          </a:p>
          <a:p>
            <a:pPr marL="109537" indent="0" fontAlgn="auto">
              <a:spcAft>
                <a:spcPts val="0"/>
              </a:spcAft>
              <a:buClr>
                <a:schemeClr val="bg1"/>
              </a:buClr>
              <a:buFont typeface="Wingdings 3" pitchFamily="18" charset="2"/>
              <a:buNone/>
              <a:defRPr/>
            </a:pPr>
            <a:endParaRPr lang="en-US" sz="2400" dirty="0">
              <a:latin typeface="Calibri" pitchFamily="34" charset="0"/>
            </a:endParaRPr>
          </a:p>
          <a:p>
            <a:pPr marL="109537" indent="0" fontAlgn="auto">
              <a:spcAft>
                <a:spcPts val="0"/>
              </a:spcAft>
              <a:buClr>
                <a:schemeClr val="bg1"/>
              </a:buClr>
              <a:buFont typeface="Wingdings 3" pitchFamily="18" charset="2"/>
              <a:buNone/>
              <a:defRPr/>
            </a:pPr>
            <a:endParaRPr lang="en-US" sz="2000" dirty="0">
              <a:latin typeface="Calibri" pitchFamily="34" charset="0"/>
            </a:endParaRPr>
          </a:p>
          <a:p>
            <a:pPr marL="109537" indent="0" fontAlgn="auto">
              <a:spcAft>
                <a:spcPts val="0"/>
              </a:spcAft>
              <a:buClr>
                <a:schemeClr val="bg1"/>
              </a:buClr>
              <a:buFont typeface="Wingdings 3" pitchFamily="18" charset="2"/>
              <a:buNone/>
              <a:defRPr/>
            </a:pPr>
            <a:r>
              <a:rPr lang="en-US" sz="2000" dirty="0">
                <a:latin typeface="Calibri" pitchFamily="34" charset="0"/>
              </a:rPr>
              <a:t>Safety involves taking precautions to </a:t>
            </a:r>
            <a:r>
              <a:rPr lang="en-US" sz="2000" b="1" dirty="0">
                <a:latin typeface="Calibri" pitchFamily="34" charset="0"/>
              </a:rPr>
              <a:t>protect you</a:t>
            </a:r>
            <a:r>
              <a:rPr lang="en-US" sz="2000" dirty="0">
                <a:latin typeface="Calibri" pitchFamily="34" charset="0"/>
              </a:rPr>
              <a:t>, </a:t>
            </a:r>
            <a:r>
              <a:rPr lang="en-US" sz="2000" b="1" dirty="0">
                <a:latin typeface="Calibri" pitchFamily="34" charset="0"/>
              </a:rPr>
              <a:t>your colleagues, the client/patient or the environment </a:t>
            </a:r>
            <a:r>
              <a:rPr lang="en-US" sz="2000" dirty="0">
                <a:latin typeface="Calibri" pitchFamily="34" charset="0"/>
              </a:rPr>
              <a:t>against infection</a:t>
            </a:r>
          </a:p>
          <a:p>
            <a:pPr marL="109537" indent="0" fontAlgn="auto">
              <a:spcAft>
                <a:spcPts val="0"/>
              </a:spcAft>
              <a:buClr>
                <a:schemeClr val="bg1"/>
              </a:buClr>
              <a:buFont typeface="Wingdings 3" pitchFamily="18" charset="2"/>
              <a:buNone/>
              <a:defRPr/>
            </a:pPr>
            <a:endParaRPr lang="en-US" sz="2000" dirty="0">
              <a:latin typeface="Calibri" pitchFamily="34" charset="0"/>
            </a:endParaRPr>
          </a:p>
          <a:p>
            <a:pPr marL="109537" indent="0" fontAlgn="auto">
              <a:spcAft>
                <a:spcPts val="0"/>
              </a:spcAft>
              <a:buClr>
                <a:schemeClr val="bg1"/>
              </a:buClr>
              <a:buFont typeface="Wingdings 3" pitchFamily="18" charset="2"/>
              <a:buNone/>
              <a:defRPr/>
            </a:pPr>
            <a:r>
              <a:rPr lang="en-US" sz="2000" dirty="0">
                <a:latin typeface="Calibri" pitchFamily="34" charset="0"/>
              </a:rPr>
              <a:t>Laboratory safety is achieved through </a:t>
            </a:r>
            <a:r>
              <a:rPr lang="en-US" sz="2000" b="1" dirty="0">
                <a:latin typeface="Calibri" pitchFamily="34" charset="0"/>
              </a:rPr>
              <a:t>administrative controls, engineering controls, the use of personal protective equipment, practices and behavior</a:t>
            </a:r>
          </a:p>
          <a:p>
            <a:pPr marL="365760" indent="-256032" fontAlgn="auto">
              <a:spcAft>
                <a:spcPts val="0"/>
              </a:spcAft>
              <a:buClr>
                <a:schemeClr val="accent3"/>
              </a:buClr>
              <a:buFont typeface="Georgia"/>
              <a:buChar char="•"/>
              <a:defRPr/>
            </a:pPr>
            <a:endParaRPr lang="en-US" dirty="0"/>
          </a:p>
        </p:txBody>
      </p:sp>
      <p:sp>
        <p:nvSpPr>
          <p:cNvPr id="2" name="Down Arrow 1"/>
          <p:cNvSpPr/>
          <p:nvPr/>
        </p:nvSpPr>
        <p:spPr>
          <a:xfrm>
            <a:off x="5027614" y="3124200"/>
            <a:ext cx="1218883" cy="914400"/>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srgbClr val="FF0000"/>
              </a:solidFill>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908465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
        <p:nvSpPr>
          <p:cNvPr id="35" name="Rectangle 34"/>
          <p:cNvSpPr/>
          <p:nvPr/>
        </p:nvSpPr>
        <p:spPr>
          <a:xfrm>
            <a:off x="1182979" y="15517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Tree>
    <p:extLst>
      <p:ext uri="{BB962C8B-B14F-4D97-AF65-F5344CB8AC3E}">
        <p14:creationId xmlns:p14="http://schemas.microsoft.com/office/powerpoint/2010/main" val="1109244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What are universal or standard precautions? </a:t>
            </a:r>
          </a:p>
        </p:txBody>
      </p:sp>
      <p:sp>
        <p:nvSpPr>
          <p:cNvPr id="23555" name="Rectangle 4"/>
          <p:cNvSpPr>
            <a:spLocks noChangeArrowheads="1"/>
          </p:cNvSpPr>
          <p:nvPr/>
        </p:nvSpPr>
        <p:spPr bwMode="auto">
          <a:xfrm>
            <a:off x="582850" y="2904979"/>
            <a:ext cx="11163413" cy="1161143"/>
          </a:xfrm>
          <a:prstGeom prst="rect">
            <a:avLst/>
          </a:prstGeom>
          <a:solidFill>
            <a:schemeClr val="bg2"/>
          </a:solidFill>
          <a:ln>
            <a:headEnd/>
            <a:tailEnd/>
          </a:ln>
        </p:spPr>
        <p:style>
          <a:lnRef idx="2">
            <a:schemeClr val="accent2"/>
          </a:lnRef>
          <a:fillRef idx="1">
            <a:schemeClr val="lt1"/>
          </a:fillRef>
          <a:effectRef idx="0">
            <a:schemeClr val="accent2"/>
          </a:effectRef>
          <a:fontRef idx="minor">
            <a:schemeClr val="dk1"/>
          </a:fontRef>
        </p:style>
        <p:txBody>
          <a:bodyPr wrap="none" anchor="ctr">
            <a:flatTx/>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fontAlgn="base">
              <a:lnSpc>
                <a:spcPct val="90000"/>
              </a:lnSpc>
              <a:spcBef>
                <a:spcPct val="0"/>
              </a:spcBef>
              <a:spcAft>
                <a:spcPct val="25000"/>
              </a:spcAft>
              <a:buClr>
                <a:srgbClr val="D40026"/>
              </a:buClr>
              <a:buSzPct val="95000"/>
            </a:pPr>
            <a:r>
              <a:rPr lang="en-US" altLang="en-US" sz="3200" b="1" dirty="0">
                <a:solidFill>
                  <a:srgbClr val="000099"/>
                </a:solidFill>
                <a:latin typeface="Calibri"/>
              </a:rPr>
              <a:t>Every specimen should be treated as infectious</a:t>
            </a:r>
          </a:p>
        </p:txBody>
      </p:sp>
      <p:sp>
        <p:nvSpPr>
          <p:cNvPr id="2" name="TextBox 1"/>
          <p:cNvSpPr txBox="1"/>
          <p:nvPr/>
        </p:nvSpPr>
        <p:spPr>
          <a:xfrm>
            <a:off x="582850" y="1361183"/>
            <a:ext cx="11163413" cy="1015663"/>
          </a:xfrm>
          <a:prstGeom prst="rect">
            <a:avLst/>
          </a:prstGeom>
          <a:noFill/>
        </p:spPr>
        <p:txBody>
          <a:bodyPr wrap="square">
            <a:spAutoFit/>
          </a:bodyPr>
          <a:lstStyle/>
          <a:p>
            <a:pPr eaLnBrk="0" fontAlgn="base" hangingPunct="0">
              <a:spcBef>
                <a:spcPct val="0"/>
              </a:spcBef>
              <a:spcAft>
                <a:spcPct val="0"/>
              </a:spcAft>
              <a:buClr>
                <a:srgbClr val="FFC000"/>
              </a:buClr>
              <a:buSzPct val="120000"/>
              <a:defRPr/>
            </a:pPr>
            <a:r>
              <a:rPr lang="en-US" sz="2000" dirty="0">
                <a:ea typeface="ＭＳ Ｐゴシック" pitchFamily="34" charset="-128"/>
              </a:rPr>
              <a:t>Universal precautions are the recommended physical requirements, procedural actions and precautions for safe work with human pathogenic materials or microbes in healthcare, laboratory and other work environments</a:t>
            </a:r>
            <a:endParaRPr lang="en-US" sz="2400" dirty="0">
              <a:solidFill>
                <a:prstClr val="black"/>
              </a:solidFill>
              <a:latin typeface="Trebuchet MS"/>
              <a:ea typeface="ＭＳ Ｐゴシック" pitchFamily="34" charset="-128"/>
            </a:endParaRPr>
          </a:p>
        </p:txBody>
      </p:sp>
      <p:pic>
        <p:nvPicPr>
          <p:cNvPr id="23558" name="Picture 8" descr="MCj0423852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964" y="4631765"/>
            <a:ext cx="1993381" cy="191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230516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Apply safety practices throughout the testing process</a:t>
            </a:r>
          </a:p>
        </p:txBody>
      </p:sp>
      <p:sp>
        <p:nvSpPr>
          <p:cNvPr id="24579" name="Rectangle 3"/>
          <p:cNvSpPr>
            <a:spLocks noGrp="1" noChangeArrowheads="1"/>
          </p:cNvSpPr>
          <p:nvPr>
            <p:ph idx="1"/>
          </p:nvPr>
        </p:nvSpPr>
        <p:spPr>
          <a:xfrm>
            <a:off x="203147" y="1600201"/>
            <a:ext cx="11884104" cy="4754563"/>
          </a:xfrm>
        </p:spPr>
        <p:txBody>
          <a:bodyPr/>
          <a:lstStyle/>
          <a:p>
            <a:pPr>
              <a:buClr>
                <a:schemeClr val="bg1"/>
              </a:buClr>
            </a:pPr>
            <a:r>
              <a:rPr lang="en-US" altLang="en-US" sz="2000" b="1" dirty="0">
                <a:latin typeface="Calibri" pitchFamily="34" charset="0"/>
              </a:rPr>
              <a:t>Pre-Testing</a:t>
            </a:r>
            <a:endParaRPr lang="en-US" altLang="en-US" sz="1600" dirty="0">
              <a:latin typeface="Calibri" pitchFamily="34" charset="0"/>
            </a:endParaRPr>
          </a:p>
          <a:p>
            <a:pPr lvl="1"/>
            <a:r>
              <a:rPr lang="en-US" altLang="en-US" sz="2000" dirty="0">
                <a:latin typeface="Calibri" pitchFamily="34" charset="0"/>
              </a:rPr>
              <a:t>Specimen collection</a:t>
            </a:r>
          </a:p>
          <a:p>
            <a:pPr lvl="1"/>
            <a:r>
              <a:rPr lang="en-US" altLang="en-US" sz="2000" dirty="0">
                <a:latin typeface="Calibri" pitchFamily="34" charset="0"/>
              </a:rPr>
              <a:t>Specimen preparation</a:t>
            </a:r>
          </a:p>
          <a:p>
            <a:pPr lvl="1"/>
            <a:r>
              <a:rPr lang="en-US" altLang="en-US" sz="2000" dirty="0">
                <a:latin typeface="Calibri" pitchFamily="34" charset="0"/>
              </a:rPr>
              <a:t>Specimen transport    </a:t>
            </a:r>
          </a:p>
          <a:p>
            <a:pPr marL="457200" lvl="1" indent="0">
              <a:buNone/>
            </a:pPr>
            <a:endParaRPr lang="en-US" altLang="en-US" sz="2000" b="1" dirty="0">
              <a:latin typeface="Calibri" pitchFamily="34" charset="0"/>
            </a:endParaRPr>
          </a:p>
          <a:p>
            <a:pPr>
              <a:buClr>
                <a:schemeClr val="bg1"/>
              </a:buClr>
            </a:pPr>
            <a:r>
              <a:rPr lang="en-US" altLang="en-US" sz="2000" b="1" dirty="0">
                <a:latin typeface="Calibri" pitchFamily="34" charset="0"/>
              </a:rPr>
              <a:t>Testing</a:t>
            </a:r>
          </a:p>
          <a:p>
            <a:pPr lvl="1"/>
            <a:r>
              <a:rPr lang="en-US" altLang="en-US" sz="2000" dirty="0">
                <a:latin typeface="Calibri" pitchFamily="34" charset="0"/>
              </a:rPr>
              <a:t>Testing</a:t>
            </a:r>
          </a:p>
          <a:p>
            <a:pPr>
              <a:buClr>
                <a:schemeClr val="bg1"/>
              </a:buClr>
            </a:pPr>
            <a:endParaRPr lang="en-US" altLang="en-US" sz="2000" b="1" dirty="0">
              <a:latin typeface="Calibri" pitchFamily="34" charset="0"/>
            </a:endParaRPr>
          </a:p>
          <a:p>
            <a:pPr>
              <a:buClr>
                <a:schemeClr val="bg1"/>
              </a:buClr>
            </a:pPr>
            <a:r>
              <a:rPr lang="en-US" altLang="en-US" sz="2000" b="1" dirty="0">
                <a:latin typeface="Calibri" pitchFamily="34" charset="0"/>
              </a:rPr>
              <a:t>Post-Testing</a:t>
            </a:r>
          </a:p>
          <a:p>
            <a:pPr lvl="1"/>
            <a:r>
              <a:rPr lang="en-US" altLang="en-US" sz="2000" dirty="0">
                <a:latin typeface="Calibri" pitchFamily="34" charset="0"/>
              </a:rPr>
              <a:t>Disposal </a:t>
            </a:r>
          </a:p>
          <a:p>
            <a:pPr>
              <a:buFont typeface="Georgia" pitchFamily="18" charset="0"/>
              <a:buNone/>
            </a:pPr>
            <a:endParaRPr lang="en-US" altLang="en-US" sz="2400" dirty="0">
              <a:latin typeface="Calibri" pitchFamily="34" charset="0"/>
            </a:endParaRPr>
          </a:p>
        </p:txBody>
      </p:sp>
      <p:sp>
        <p:nvSpPr>
          <p:cNvPr id="16388" name="Rectangle 4"/>
          <p:cNvSpPr>
            <a:spLocks noChangeArrowheads="1"/>
          </p:cNvSpPr>
          <p:nvPr/>
        </p:nvSpPr>
        <p:spPr bwMode="auto">
          <a:xfrm>
            <a:off x="6195986" y="2179638"/>
            <a:ext cx="5484971" cy="4525962"/>
          </a:xfrm>
          <a:prstGeom prst="rect">
            <a:avLst/>
          </a:prstGeom>
          <a:noFill/>
          <a:ln w="9525">
            <a:noFill/>
            <a:miter lim="800000"/>
            <a:headEnd/>
            <a:tailEnd/>
          </a:ln>
          <a:effectLst>
            <a:outerShdw dist="35921" dir="2700000" algn="ctr" rotWithShape="0">
              <a:schemeClr val="tx1"/>
            </a:outerShdw>
          </a:effectLst>
        </p:spPr>
        <p:txBody>
          <a:bodyPr/>
          <a:lstStyle/>
          <a:p>
            <a:pPr marL="342900" indent="-342900" fontAlgn="base">
              <a:spcBef>
                <a:spcPct val="20000"/>
              </a:spcBef>
              <a:spcAft>
                <a:spcPct val="0"/>
              </a:spcAft>
              <a:buClr>
                <a:srgbClr val="0000FF"/>
              </a:buClr>
              <a:buSzPct val="90000"/>
              <a:buFont typeface="Wingdings" pitchFamily="2" charset="2"/>
              <a:buBlip>
                <a:blip r:embed="rId3"/>
              </a:buBlip>
              <a:defRPr/>
            </a:pPr>
            <a:endParaRPr lang="en-US" sz="2800">
              <a:solidFill>
                <a:prstClr val="black"/>
              </a:solidFill>
              <a:effectLst>
                <a:outerShdw blurRad="38100" dist="38100" dir="2700000" algn="tl">
                  <a:srgbClr val="000000"/>
                </a:outerShdw>
              </a:effectLst>
              <a:latin typeface="Arial" charset="0"/>
              <a:ea typeface="ＭＳ Ｐゴシック" pitchFamily="34" charset="-128"/>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grpSp>
        <p:nvGrpSpPr>
          <p:cNvPr id="8" name="Group 7"/>
          <p:cNvGrpSpPr/>
          <p:nvPr/>
        </p:nvGrpSpPr>
        <p:grpSpPr>
          <a:xfrm>
            <a:off x="5798943" y="1307895"/>
            <a:ext cx="5906661" cy="4959386"/>
            <a:chOff x="2611351" y="914404"/>
            <a:chExt cx="7286820" cy="5822555"/>
          </a:xfrm>
        </p:grpSpPr>
        <p:sp>
          <p:nvSpPr>
            <p:cNvPr id="9"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10" name="WordArt 4"/>
            <p:cNvSpPr>
              <a:spLocks noChangeArrowheads="1" noChangeShapeType="1" noTextEdit="1"/>
            </p:cNvSpPr>
            <p:nvPr/>
          </p:nvSpPr>
          <p:spPr bwMode="auto">
            <a:xfrm rot="4275814">
              <a:off x="8416082" y="2660723"/>
              <a:ext cx="1857375"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re-Testing</a:t>
              </a:r>
            </a:p>
          </p:txBody>
        </p:sp>
        <p:sp>
          <p:nvSpPr>
            <p:cNvPr id="11" name="WordArt 5"/>
            <p:cNvSpPr>
              <a:spLocks noChangeArrowheads="1" noChangeShapeType="1" noTextEdit="1"/>
            </p:cNvSpPr>
            <p:nvPr/>
          </p:nvSpPr>
          <p:spPr bwMode="auto">
            <a:xfrm>
              <a:off x="5281824" y="6276975"/>
              <a:ext cx="1904504" cy="459984"/>
            </a:xfrm>
            <a:prstGeom prst="rect">
              <a:avLst/>
            </a:prstGeom>
          </p:spPr>
          <p:txBody>
            <a:bodyPr wrap="none" fromWordArt="1">
              <a:prstTxWarp prst="textCanDown">
                <a:avLst>
                  <a:gd name="adj" fmla="val 33333"/>
                </a:avLst>
              </a:prstTxWarp>
            </a:bodyPr>
            <a:lstStyle/>
            <a:p>
              <a:pPr algn="ctr" defTabSz="457200" fontAlgn="base">
                <a:spcBef>
                  <a:spcPct val="0"/>
                </a:spcBef>
                <a:spcAft>
                  <a:spcPct val="0"/>
                </a:spcAft>
              </a:pPr>
              <a:r>
                <a:rPr lang="en-US" sz="3600" kern="10" dirty="0">
                  <a:ln w="9525">
                    <a:noFill/>
                    <a:round/>
                    <a:headEnd/>
                    <a:tailEnd/>
                  </a:ln>
                  <a:latin typeface="Arial"/>
                  <a:ea typeface="ＭＳ Ｐゴシック" pitchFamily="34" charset="-128"/>
                  <a:cs typeface="Arial"/>
                </a:rPr>
                <a:t>Testing</a:t>
              </a:r>
            </a:p>
          </p:txBody>
        </p:sp>
        <p:sp>
          <p:nvSpPr>
            <p:cNvPr id="12"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ost-Testing</a:t>
              </a:r>
            </a:p>
          </p:txBody>
        </p:sp>
        <p:pic>
          <p:nvPicPr>
            <p:cNvPr id="13" name="Picture 7"/>
            <p:cNvPicPr>
              <a:picLocks noChangeAspect="1" noChangeArrowheads="1"/>
            </p:cNvPicPr>
            <p:nvPr/>
          </p:nvPicPr>
          <p:blipFill>
            <a:blip r:embed="rId4"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14" name="Picture 8"/>
            <p:cNvPicPr>
              <a:picLocks noChangeAspect="1" noChangeArrowheads="1"/>
            </p:cNvPicPr>
            <p:nvPr/>
          </p:nvPicPr>
          <p:blipFill>
            <a:blip r:embed="rId5"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15" name="Picture 9"/>
            <p:cNvPicPr>
              <a:picLocks noChangeAspect="1" noChangeArrowheads="1"/>
            </p:cNvPicPr>
            <p:nvPr/>
          </p:nvPicPr>
          <p:blipFill>
            <a:blip r:embed="rId6"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16" name="Picture 10"/>
            <p:cNvPicPr>
              <a:picLocks noChangeAspect="1" noChangeArrowheads="1"/>
            </p:cNvPicPr>
            <p:nvPr/>
          </p:nvPicPr>
          <p:blipFill>
            <a:blip r:embed="rId7"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17" name="Picture 11"/>
            <p:cNvPicPr>
              <a:picLocks noChangeAspect="1" noChangeArrowheads="1"/>
            </p:cNvPicPr>
            <p:nvPr/>
          </p:nvPicPr>
          <p:blipFill>
            <a:blip r:embed="rId8"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18" name="Picture 12"/>
            <p:cNvPicPr>
              <a:picLocks noChangeAspect="1" noChangeArrowheads="1"/>
            </p:cNvPicPr>
            <p:nvPr/>
          </p:nvPicPr>
          <p:blipFill>
            <a:blip r:embed="rId9"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19" name="Picture 13"/>
            <p:cNvPicPr>
              <a:picLocks noChangeAspect="1" noChangeArrowheads="1"/>
            </p:cNvPicPr>
            <p:nvPr/>
          </p:nvPicPr>
          <p:blipFill>
            <a:blip r:embed="rId10"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20" name="Picture 14"/>
            <p:cNvPicPr>
              <a:picLocks noChangeAspect="1" noChangeArrowheads="1"/>
            </p:cNvPicPr>
            <p:nvPr/>
          </p:nvPicPr>
          <p:blipFill>
            <a:blip r:embed="rId11"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21"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2"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3"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24" name="Text Box 18"/>
            <p:cNvSpPr txBox="1">
              <a:spLocks noChangeArrowheads="1"/>
            </p:cNvSpPr>
            <p:nvPr/>
          </p:nvSpPr>
          <p:spPr bwMode="auto">
            <a:xfrm>
              <a:off x="4855963" y="2834988"/>
              <a:ext cx="2457271" cy="1553780"/>
            </a:xfrm>
            <a:prstGeom prst="rect">
              <a:avLst/>
            </a:prstGeom>
            <a:noFill/>
            <a:ln w="9525">
              <a:noFill/>
              <a:miter lim="800000"/>
              <a:headEnd/>
              <a:tailEnd/>
            </a:ln>
            <a:effectLst/>
          </p:spPr>
          <p:txBody>
            <a:bodyPr wrap="square">
              <a:spAutoFit/>
            </a:bodyPr>
            <a:lstStyle/>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Data and Laboratory Management</a:t>
              </a:r>
            </a:p>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Safety</a:t>
              </a:r>
            </a:p>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Customer Service</a:t>
              </a:r>
            </a:p>
          </p:txBody>
        </p:sp>
        <p:pic>
          <p:nvPicPr>
            <p:cNvPr id="25" name="Picture 19"/>
            <p:cNvPicPr>
              <a:picLocks noChangeAspect="1" noChangeArrowheads="1"/>
            </p:cNvPicPr>
            <p:nvPr/>
          </p:nvPicPr>
          <p:blipFill>
            <a:blip r:embed="rId12"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26" name="Text Box 20"/>
            <p:cNvSpPr txBox="1">
              <a:spLocks noChangeArrowheads="1"/>
            </p:cNvSpPr>
            <p:nvPr/>
          </p:nvSpPr>
          <p:spPr bwMode="auto">
            <a:xfrm>
              <a:off x="5510542" y="1915180"/>
              <a:ext cx="1942363" cy="614285"/>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Patient/Client Prep</a:t>
              </a:r>
            </a:p>
            <a:p>
              <a:pPr defTabSz="457200" eaLnBrk="0" fontAlgn="base" hangingPunct="0">
                <a:spcBef>
                  <a:spcPct val="0"/>
                </a:spcBef>
                <a:spcAft>
                  <a:spcPct val="0"/>
                </a:spcAft>
              </a:pPr>
              <a:r>
                <a:rPr lang="en-US" sz="1400" dirty="0">
                  <a:solidFill>
                    <a:schemeClr val="bg1"/>
                  </a:solidFill>
                  <a:ea typeface="ＭＳ Ｐゴシック" pitchFamily="34" charset="-128"/>
                </a:rPr>
                <a:t>Sample Collection</a:t>
              </a:r>
            </a:p>
          </p:txBody>
        </p:sp>
        <p:sp>
          <p:nvSpPr>
            <p:cNvPr id="27" name="Text Box 21"/>
            <p:cNvSpPr txBox="1">
              <a:spLocks noChangeArrowheads="1"/>
            </p:cNvSpPr>
            <p:nvPr/>
          </p:nvSpPr>
          <p:spPr bwMode="auto">
            <a:xfrm>
              <a:off x="7358832" y="3733805"/>
              <a:ext cx="2539339" cy="686554"/>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Receipt </a:t>
              </a:r>
            </a:p>
            <a:p>
              <a:pPr defTabSz="457200" eaLnBrk="0" fontAlgn="base" hangingPunct="0">
                <a:spcBef>
                  <a:spcPct val="0"/>
                </a:spcBef>
                <a:spcAft>
                  <a:spcPct val="0"/>
                </a:spcAft>
              </a:pPr>
              <a:r>
                <a:rPr lang="en-US" sz="1600" dirty="0">
                  <a:solidFill>
                    <a:schemeClr val="bg1"/>
                  </a:solidFill>
                  <a:ea typeface="ＭＳ Ｐゴシック" pitchFamily="34" charset="-128"/>
                </a:rPr>
                <a:t>and Accessioning</a:t>
              </a:r>
            </a:p>
          </p:txBody>
        </p:sp>
        <p:sp>
          <p:nvSpPr>
            <p:cNvPr id="28" name="Text Box 22"/>
            <p:cNvSpPr txBox="1">
              <a:spLocks noChangeArrowheads="1"/>
            </p:cNvSpPr>
            <p:nvPr/>
          </p:nvSpPr>
          <p:spPr bwMode="auto">
            <a:xfrm>
              <a:off x="7535946" y="4842309"/>
              <a:ext cx="1211535" cy="686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a:t>
              </a:r>
            </a:p>
            <a:p>
              <a:pPr defTabSz="457200" eaLnBrk="0" fontAlgn="base" hangingPunct="0">
                <a:spcBef>
                  <a:spcPct val="0"/>
                </a:spcBef>
                <a:spcAft>
                  <a:spcPct val="0"/>
                </a:spcAft>
              </a:pPr>
              <a:r>
                <a:rPr lang="en-US" sz="1600" dirty="0">
                  <a:solidFill>
                    <a:schemeClr val="bg1"/>
                  </a:solidFill>
                  <a:ea typeface="ＭＳ Ｐゴシック" pitchFamily="34" charset="-128"/>
                </a:rPr>
                <a:t>Transport</a:t>
              </a:r>
            </a:p>
          </p:txBody>
        </p:sp>
        <p:sp>
          <p:nvSpPr>
            <p:cNvPr id="29" name="Text Box 23"/>
            <p:cNvSpPr txBox="1">
              <a:spLocks noChangeArrowheads="1"/>
            </p:cNvSpPr>
            <p:nvPr/>
          </p:nvSpPr>
          <p:spPr bwMode="auto">
            <a:xfrm>
              <a:off x="5180250" y="5479048"/>
              <a:ext cx="1783603" cy="397478"/>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Quality Control</a:t>
              </a:r>
            </a:p>
          </p:txBody>
        </p:sp>
        <p:sp>
          <p:nvSpPr>
            <p:cNvPr id="30" name="Text Box 24"/>
            <p:cNvSpPr txBox="1">
              <a:spLocks noChangeArrowheads="1"/>
            </p:cNvSpPr>
            <p:nvPr/>
          </p:nvSpPr>
          <p:spPr bwMode="auto">
            <a:xfrm>
              <a:off x="3148581" y="4648200"/>
              <a:ext cx="2183831" cy="397478"/>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cord Keeping</a:t>
              </a:r>
            </a:p>
          </p:txBody>
        </p:sp>
        <p:sp>
          <p:nvSpPr>
            <p:cNvPr id="31" name="Text Box 25"/>
            <p:cNvSpPr txBox="1">
              <a:spLocks noChangeArrowheads="1"/>
            </p:cNvSpPr>
            <p:nvPr/>
          </p:nvSpPr>
          <p:spPr bwMode="auto">
            <a:xfrm>
              <a:off x="3148785" y="2590799"/>
              <a:ext cx="1417797" cy="397478"/>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porting</a:t>
              </a:r>
            </a:p>
          </p:txBody>
        </p:sp>
        <p:pic>
          <p:nvPicPr>
            <p:cNvPr id="32" name="Picture 26"/>
            <p:cNvPicPr>
              <a:picLocks noChangeAspect="1" noChangeArrowheads="1"/>
            </p:cNvPicPr>
            <p:nvPr/>
          </p:nvPicPr>
          <p:blipFill>
            <a:blip r:embed="rId12"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33" name="Text Box 27"/>
            <p:cNvSpPr txBox="1">
              <a:spLocks noChangeArrowheads="1"/>
            </p:cNvSpPr>
            <p:nvPr/>
          </p:nvSpPr>
          <p:spPr bwMode="auto">
            <a:xfrm>
              <a:off x="7085440" y="2356656"/>
              <a:ext cx="2336191" cy="614285"/>
            </a:xfrm>
            <a:prstGeom prst="rect">
              <a:avLst/>
            </a:prstGeom>
            <a:noFill/>
            <a:ln w="9525">
              <a:noFill/>
              <a:miter lim="800000"/>
              <a:headEnd/>
              <a:tailEnd/>
            </a:ln>
            <a:effectLst/>
          </p:spPr>
          <p:txBody>
            <a:bodyPr wrap="squar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Staff Competency</a:t>
              </a:r>
            </a:p>
            <a:p>
              <a:pPr defTabSz="457200" eaLnBrk="0" fontAlgn="base" hangingPunct="0">
                <a:spcBef>
                  <a:spcPct val="0"/>
                </a:spcBef>
                <a:spcAft>
                  <a:spcPct val="0"/>
                </a:spcAft>
              </a:pPr>
              <a:r>
                <a:rPr lang="en-US" sz="1400" dirty="0">
                  <a:solidFill>
                    <a:schemeClr val="bg1"/>
                  </a:solidFill>
                  <a:ea typeface="ＭＳ Ｐゴシック" pitchFamily="34" charset="-128"/>
                </a:rPr>
                <a:t>Test Evaluations</a:t>
              </a:r>
            </a:p>
          </p:txBody>
        </p:sp>
        <p:sp>
          <p:nvSpPr>
            <p:cNvPr id="34" name="Text Box 28"/>
            <p:cNvSpPr txBox="1">
              <a:spLocks noChangeArrowheads="1"/>
            </p:cNvSpPr>
            <p:nvPr/>
          </p:nvSpPr>
          <p:spPr bwMode="auto">
            <a:xfrm>
              <a:off x="5553676" y="5731877"/>
              <a:ext cx="944089" cy="397478"/>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Testing</a:t>
              </a:r>
            </a:p>
          </p:txBody>
        </p:sp>
        <p:pic>
          <p:nvPicPr>
            <p:cNvPr id="35" name="Picture 29" descr="bs00554_"/>
            <p:cNvPicPr>
              <a:picLocks noChangeAspect="1" noChangeArrowheads="1"/>
            </p:cNvPicPr>
            <p:nvPr/>
          </p:nvPicPr>
          <p:blipFill>
            <a:blip r:embed="rId13" cstate="print"/>
            <a:srcRect/>
            <a:stretch>
              <a:fillRect/>
            </a:stretch>
          </p:blipFill>
          <p:spPr bwMode="auto">
            <a:xfrm>
              <a:off x="3351927" y="3962407"/>
              <a:ext cx="1422030" cy="695325"/>
            </a:xfrm>
            <a:prstGeom prst="rect">
              <a:avLst/>
            </a:prstGeom>
            <a:noFill/>
          </p:spPr>
        </p:pic>
      </p:grpSp>
    </p:spTree>
    <p:extLst>
      <p:ext uri="{BB962C8B-B14F-4D97-AF65-F5344CB8AC3E}">
        <p14:creationId xmlns:p14="http://schemas.microsoft.com/office/powerpoint/2010/main" val="1182622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a:t>
            </a:r>
          </a:p>
        </p:txBody>
      </p:sp>
      <p:pic>
        <p:nvPicPr>
          <p:cNvPr id="2560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4870" y="4114800"/>
            <a:ext cx="4020619" cy="242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4869" y="1284889"/>
            <a:ext cx="3961368" cy="262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2" name="TextBox 1"/>
          <p:cNvSpPr txBox="1"/>
          <p:nvPr/>
        </p:nvSpPr>
        <p:spPr>
          <a:xfrm>
            <a:off x="406294" y="2754312"/>
            <a:ext cx="6602280" cy="364648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ash hands before and after collecting samples from each patient</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ashing hands before and after conducting testing </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ear a fresh pair of gloves with each patient</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ear a laboratory coat or apron </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Dispose of contaminated sharps and waste appropriately, and immediately after testing </a:t>
            </a:r>
          </a:p>
        </p:txBody>
      </p:sp>
      <p:sp>
        <p:nvSpPr>
          <p:cNvPr id="3" name="TextBox 2"/>
          <p:cNvSpPr txBox="1"/>
          <p:nvPr/>
        </p:nvSpPr>
        <p:spPr>
          <a:xfrm>
            <a:off x="406294" y="1284890"/>
            <a:ext cx="6602280" cy="1153511"/>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Handwashing is the simplest, most effective means of preventing infections if done </a:t>
            </a:r>
            <a:r>
              <a:rPr lang="en-US" i="1" dirty="0"/>
              <a:t>properly </a:t>
            </a:r>
            <a:r>
              <a:rPr lang="en-US" dirty="0"/>
              <a:t>and </a:t>
            </a:r>
            <a:r>
              <a:rPr lang="en-US" i="1" dirty="0"/>
              <a:t>frequently </a:t>
            </a:r>
          </a:p>
          <a:p>
            <a:r>
              <a:rPr lang="en-US" dirty="0"/>
              <a:t>– US Centers for Disease Control</a:t>
            </a:r>
          </a:p>
        </p:txBody>
      </p:sp>
    </p:spTree>
    <p:extLst>
      <p:ext uri="{BB962C8B-B14F-4D97-AF65-F5344CB8AC3E}">
        <p14:creationId xmlns:p14="http://schemas.microsoft.com/office/powerpoint/2010/main" val="1500791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p>
        </p:txBody>
      </p:sp>
      <p:grpSp>
        <p:nvGrpSpPr>
          <p:cNvPr id="26628" name="Group 4"/>
          <p:cNvGrpSpPr>
            <a:grpSpLocks/>
          </p:cNvGrpSpPr>
          <p:nvPr/>
        </p:nvGrpSpPr>
        <p:grpSpPr bwMode="auto">
          <a:xfrm>
            <a:off x="7313295" y="4343400"/>
            <a:ext cx="3758221" cy="2286000"/>
            <a:chOff x="3984" y="1488"/>
            <a:chExt cx="1392" cy="1360"/>
          </a:xfrm>
        </p:grpSpPr>
        <p:pic>
          <p:nvPicPr>
            <p:cNvPr id="29705" name="Picture 5" descr="11 copy"/>
            <p:cNvPicPr>
              <a:picLocks noChangeAspect="1" noChangeArrowheads="1"/>
            </p:cNvPicPr>
            <p:nvPr/>
          </p:nvPicPr>
          <p:blipFill>
            <a:blip r:embed="rId3">
              <a:lum contrast="24000"/>
            </a:blip>
            <a:srcRect/>
            <a:stretch>
              <a:fillRect/>
            </a:stretch>
          </p:blipFill>
          <p:spPr bwMode="auto">
            <a:xfrm>
              <a:off x="3984" y="1488"/>
              <a:ext cx="1392" cy="1360"/>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4" name="Group 6"/>
            <p:cNvGrpSpPr>
              <a:grpSpLocks/>
            </p:cNvGrpSpPr>
            <p:nvPr/>
          </p:nvGrpSpPr>
          <p:grpSpPr bwMode="auto">
            <a:xfrm>
              <a:off x="4224" y="1632"/>
              <a:ext cx="1008" cy="1008"/>
              <a:chOff x="2112" y="3216"/>
              <a:chExt cx="912" cy="912"/>
            </a:xfrm>
          </p:grpSpPr>
          <p:sp>
            <p:nvSpPr>
              <p:cNvPr id="26635" name="Oval 7"/>
              <p:cNvSpPr>
                <a:spLocks noChangeArrowheads="1"/>
              </p:cNvSpPr>
              <p:nvPr/>
            </p:nvSpPr>
            <p:spPr bwMode="auto">
              <a:xfrm>
                <a:off x="2112" y="3216"/>
                <a:ext cx="912" cy="912"/>
              </a:xfrm>
              <a:prstGeom prst="ellipse">
                <a:avLst/>
              </a:prstGeom>
              <a:noFill/>
              <a:ln w="76200">
                <a:solidFill>
                  <a:schemeClr val="bg2">
                    <a:lumMod val="25000"/>
                  </a:schemeClr>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6" name="Line 8"/>
              <p:cNvSpPr>
                <a:spLocks noChangeShapeType="1"/>
              </p:cNvSpPr>
              <p:nvPr/>
            </p:nvSpPr>
            <p:spPr bwMode="auto">
              <a:xfrm>
                <a:off x="2304" y="3312"/>
                <a:ext cx="576" cy="720"/>
              </a:xfrm>
              <a:prstGeom prst="line">
                <a:avLst/>
              </a:prstGeom>
              <a:noFill/>
              <a:ln w="76200">
                <a:solidFill>
                  <a:schemeClr val="bg2">
                    <a:lumMod val="25000"/>
                  </a:schemeClr>
                </a:solidFill>
                <a:miter lim="800000"/>
                <a:headEnd/>
                <a:tailEnd/>
              </a:ln>
              <a:extLst>
                <a:ext uri="{909E8E84-426E-40DD-AFC4-6F175D3DCCD1}">
                  <a14:hiddenFill xmlns:a14="http://schemas.microsoft.com/office/drawing/2010/main">
                    <a:noFill/>
                  </a14:hiddenFill>
                </a:ext>
              </a:extLst>
            </p:spPr>
            <p:txBody>
              <a:bodyPr wrap="none"/>
              <a:lstStyle/>
              <a:p>
                <a:pPr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grpSp>
      <p:pic>
        <p:nvPicPr>
          <p:cNvPr id="29701" name="Picture 9" descr="pipette"/>
          <p:cNvPicPr>
            <a:picLocks noChangeAspect="1" noChangeArrowheads="1"/>
          </p:cNvPicPr>
          <p:nvPr/>
        </p:nvPicPr>
        <p:blipFill>
          <a:blip r:embed="rId4">
            <a:lum contrast="18000"/>
          </a:blip>
          <a:srcRect/>
          <a:stretch>
            <a:fillRect/>
          </a:stretch>
        </p:blipFill>
        <p:spPr bwMode="auto">
          <a:xfrm>
            <a:off x="7211721" y="1447817"/>
            <a:ext cx="3859795" cy="2606675"/>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0" name="Group 10"/>
          <p:cNvGrpSpPr>
            <a:grpSpLocks/>
          </p:cNvGrpSpPr>
          <p:nvPr/>
        </p:nvGrpSpPr>
        <p:grpSpPr bwMode="auto">
          <a:xfrm>
            <a:off x="8125885" y="1524000"/>
            <a:ext cx="2416604" cy="1517650"/>
            <a:chOff x="2112" y="3216"/>
            <a:chExt cx="912" cy="912"/>
          </a:xfrm>
        </p:grpSpPr>
        <p:sp>
          <p:nvSpPr>
            <p:cNvPr id="26631" name="Oval 11"/>
            <p:cNvSpPr>
              <a:spLocks noChangeArrowheads="1"/>
            </p:cNvSpPr>
            <p:nvPr/>
          </p:nvSpPr>
          <p:spPr bwMode="auto">
            <a:xfrm>
              <a:off x="2112" y="3216"/>
              <a:ext cx="912" cy="912"/>
            </a:xfrm>
            <a:prstGeom prst="ellipse">
              <a:avLst/>
            </a:prstGeom>
            <a:noFill/>
            <a:ln w="76200">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2" name="Line 12"/>
            <p:cNvSpPr>
              <a:spLocks noChangeShapeType="1"/>
            </p:cNvSpPr>
            <p:nvPr/>
          </p:nvSpPr>
          <p:spPr bwMode="auto">
            <a:xfrm>
              <a:off x="2304" y="3312"/>
              <a:ext cx="576" cy="720"/>
            </a:xfrm>
            <a:prstGeom prst="line">
              <a:avLst/>
            </a:prstGeom>
            <a:noFill/>
            <a:ln w="76200">
              <a:solidFill>
                <a:schemeClr val="hlink"/>
              </a:solidFill>
              <a:miter lim="800000"/>
              <a:headEnd/>
              <a:tailEnd/>
            </a:ln>
            <a:extLst>
              <a:ext uri="{909E8E84-426E-40DD-AFC4-6F175D3DCCD1}">
                <a14:hiddenFill xmlns:a14="http://schemas.microsoft.com/office/drawing/2010/main">
                  <a:noFill/>
                </a14:hiddenFill>
              </a:ext>
            </a:extLst>
          </p:spPr>
          <p:txBody>
            <a:bodyPr wrap="none"/>
            <a:lstStyle/>
            <a:p>
              <a:pPr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sp>
        <p:nvSpPr>
          <p:cNvPr id="2" name="TextBox 1"/>
          <p:cNvSpPr txBox="1"/>
          <p:nvPr/>
        </p:nvSpPr>
        <p:spPr>
          <a:xfrm>
            <a:off x="831937" y="1683753"/>
            <a:ext cx="4972267" cy="43688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Pipetting by mouth is strictly forbidden</a:t>
            </a:r>
          </a:p>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Never eat, drink or smoke at the test site</a:t>
            </a:r>
          </a:p>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Keep food out of the laboratory/testing site refrigerator</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641575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397" y="1333500"/>
            <a:ext cx="10722356"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227154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4"/>
          <p:cNvSpPr>
            <a:spLocks noGrp="1"/>
          </p:cNvSpPr>
          <p:nvPr>
            <p:ph type="sldNum" sz="quarter" idx="4294967295"/>
          </p:nvPr>
        </p:nvSpPr>
        <p:spPr>
          <a:xfrm>
            <a:off x="8735326" y="6248400"/>
            <a:ext cx="2844059"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B084913-6F56-4ABE-BAF5-98F00723736C}" type="slidenum">
              <a:rPr lang="en-US" altLang="en-US" smtClean="0">
                <a:solidFill>
                  <a:srgbClr val="000000"/>
                </a:solidFill>
                <a:latin typeface="Arial Black" pitchFamily="34" charset="0"/>
              </a:rPr>
              <a:pPr/>
              <a:t>25</a:t>
            </a:fld>
            <a:endParaRPr lang="en-US" altLang="en-US">
              <a:solidFill>
                <a:srgbClr val="000000"/>
              </a:solidFill>
              <a:latin typeface="Arial Black" pitchFamily="34" charset="0"/>
            </a:endParaRPr>
          </a:p>
        </p:txBody>
      </p:sp>
      <p:pic>
        <p:nvPicPr>
          <p:cNvPr id="2867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178" y="2133601"/>
            <a:ext cx="4672383" cy="28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9" descr="Coffee Cup">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4311" y="2819400"/>
            <a:ext cx="243776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0605" y="4114800"/>
            <a:ext cx="2945633" cy="157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8016" y="1371617"/>
            <a:ext cx="3148780" cy="157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8" descr="ad_makeup_eyeline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5997" y="4343400"/>
            <a:ext cx="247585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4" descr="j0303675[1]"/>
          <p:cNvPicPr>
            <a:picLocks noGrp="1" noChangeAspect="1" noChangeArrowheads="1"/>
          </p:cNvPicPr>
          <p:nvPr>
            <p:ph type="body" idx="1"/>
          </p:nvPr>
        </p:nvPicPr>
        <p:blipFill>
          <a:blip r:embed="rId9" cstate="print">
            <a:extLst>
              <a:ext uri="{28A0092B-C50C-407E-A947-70E740481C1C}">
                <a14:useLocalDpi xmlns:a14="http://schemas.microsoft.com/office/drawing/2010/main" val="0"/>
              </a:ext>
            </a:extLst>
          </a:blip>
          <a:srcRect/>
          <a:stretch>
            <a:fillRect/>
          </a:stretch>
        </p:blipFill>
        <p:spPr>
          <a:xfrm rot="5400000">
            <a:off x="3338565" y="470799"/>
            <a:ext cx="5105400" cy="6907001"/>
          </a:xfrm>
          <a:noFill/>
        </p:spPr>
      </p:pic>
      <p:sp>
        <p:nvSpPr>
          <p:cNvPr id="1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endParaRPr lang="en-US" sz="2400" dirty="0">
              <a:solidFill>
                <a:schemeClr val="bg1"/>
              </a:solidFill>
              <a:ea typeface="+mj-ea"/>
              <a:cs typeface="+mj-cs"/>
            </a:endParaRPr>
          </a:p>
        </p:txBody>
      </p:sp>
      <p:sp>
        <p:nvSpPr>
          <p:cNvPr id="28682" name="TextBox 12"/>
          <p:cNvSpPr txBox="1">
            <a:spLocks noChangeArrowheads="1"/>
          </p:cNvSpPr>
          <p:nvPr/>
        </p:nvSpPr>
        <p:spPr bwMode="auto">
          <a:xfrm>
            <a:off x="304720" y="1219217"/>
            <a:ext cx="294563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r>
              <a:rPr lang="en-US" altLang="en-US" sz="3600" b="1" dirty="0">
                <a:solidFill>
                  <a:srgbClr val="C00000"/>
                </a:solidFill>
                <a:latin typeface="Calibri" pitchFamily="34" charset="0"/>
                <a:ea typeface="ＭＳ Ｐゴシック" pitchFamily="34" charset="-128"/>
              </a:rPr>
              <a:t>DO NOT</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361430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Box 1"/>
          <p:cNvSpPr txBox="1">
            <a:spLocks noChangeArrowheads="1"/>
          </p:cNvSpPr>
          <p:nvPr/>
        </p:nvSpPr>
        <p:spPr bwMode="auto">
          <a:xfrm>
            <a:off x="0" y="0"/>
            <a:ext cx="12188825" cy="954088"/>
          </a:xfrm>
          <a:prstGeom prst="rect">
            <a:avLst/>
          </a:prstGeom>
          <a:solidFill>
            <a:schemeClr val="accent5">
              <a:lumMod val="50000"/>
            </a:schemeClr>
          </a:solidFill>
          <a:ln w="9525">
            <a:noFill/>
            <a:miter lim="800000"/>
            <a:headEnd/>
            <a:tailEnd/>
          </a:ln>
          <a:extLst/>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dirty="0"/>
              <a:t>Contamination can occur in a number of ways </a:t>
            </a:r>
          </a:p>
        </p:txBody>
      </p:sp>
      <p:pic>
        <p:nvPicPr>
          <p:cNvPr id="2969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173" y="1332192"/>
            <a:ext cx="9983833"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611150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Personal Protective Equipment (PPE) can prevent contamination </a:t>
            </a:r>
          </a:p>
        </p:txBody>
      </p:sp>
      <p:sp>
        <p:nvSpPr>
          <p:cNvPr id="30723" name="Content Placeholder 1"/>
          <p:cNvSpPr>
            <a:spLocks noGrp="1"/>
          </p:cNvSpPr>
          <p:nvPr>
            <p:ph idx="1"/>
          </p:nvPr>
        </p:nvSpPr>
        <p:spPr>
          <a:xfrm>
            <a:off x="609441" y="1905000"/>
            <a:ext cx="10969943" cy="3949700"/>
          </a:xfrm>
        </p:spPr>
        <p:txBody>
          <a:bodyPr/>
          <a:lstStyle/>
          <a:p>
            <a:r>
              <a:rPr lang="en-US" altLang="en-US" sz="2400" dirty="0">
                <a:latin typeface="Calibri" pitchFamily="34" charset="0"/>
              </a:rPr>
              <a:t>Gloves</a:t>
            </a:r>
          </a:p>
          <a:p>
            <a:r>
              <a:rPr lang="en-US" altLang="en-US" sz="2400" dirty="0">
                <a:latin typeface="Calibri" pitchFamily="34" charset="0"/>
              </a:rPr>
              <a:t>Lab gowns/coats</a:t>
            </a:r>
          </a:p>
          <a:p>
            <a:r>
              <a:rPr lang="en-US" altLang="en-US" sz="2400" dirty="0">
                <a:latin typeface="Calibri" pitchFamily="34" charset="0"/>
              </a:rPr>
              <a:t>Eye protection-Goggles</a:t>
            </a:r>
          </a:p>
          <a:p>
            <a:r>
              <a:rPr lang="en-US" altLang="en-US" sz="2400" dirty="0">
                <a:latin typeface="Calibri" pitchFamily="34" charset="0"/>
              </a:rPr>
              <a:t>Respiratory protection-Mask</a:t>
            </a:r>
          </a:p>
          <a:p>
            <a:r>
              <a:rPr lang="en-US" altLang="en-US" sz="2400" dirty="0">
                <a:latin typeface="Calibri" pitchFamily="34" charset="0"/>
              </a:rPr>
              <a:t>Face Shields</a:t>
            </a:r>
          </a:p>
          <a:p>
            <a:r>
              <a:rPr lang="en-US" altLang="en-US" sz="2400" dirty="0">
                <a:latin typeface="Calibri" pitchFamily="34" charset="0"/>
              </a:rPr>
              <a:t>Head cover</a:t>
            </a:r>
          </a:p>
          <a:p>
            <a:r>
              <a:rPr lang="en-US" altLang="en-US" sz="2400" dirty="0">
                <a:latin typeface="Calibri" pitchFamily="34" charset="0"/>
              </a:rPr>
              <a:t>Foot wear</a:t>
            </a:r>
          </a:p>
          <a:p>
            <a:r>
              <a:rPr lang="en-US" altLang="en-US" sz="2400" dirty="0">
                <a:latin typeface="Calibri" pitchFamily="34" charset="0"/>
              </a:rPr>
              <a:t>Up-to-date vaccinations (e.g. </a:t>
            </a:r>
            <a:r>
              <a:rPr lang="en-US" altLang="en-US" sz="2400" dirty="0" err="1">
                <a:latin typeface="Calibri" pitchFamily="34" charset="0"/>
              </a:rPr>
              <a:t>Hep</a:t>
            </a:r>
            <a:r>
              <a:rPr lang="en-US" altLang="en-US" sz="2400" dirty="0">
                <a:latin typeface="Calibri" pitchFamily="34" charset="0"/>
              </a:rPr>
              <a:t> B) </a:t>
            </a:r>
          </a:p>
          <a:p>
            <a:endParaRPr lang="en-US" altLang="en-US" dirty="0"/>
          </a:p>
        </p:txBody>
      </p:sp>
      <p:pic>
        <p:nvPicPr>
          <p:cNvPr id="3072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4370" y="1371600"/>
            <a:ext cx="4041781"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463436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867" y="1295400"/>
            <a:ext cx="11079981"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General safety equipment</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2" name="Rectangle 1"/>
          <p:cNvSpPr/>
          <p:nvPr/>
        </p:nvSpPr>
        <p:spPr>
          <a:xfrm>
            <a:off x="4081982" y="2743200"/>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2"/>
                </a:solidFill>
              </a:rPr>
              <a:t>Shower</a:t>
            </a:r>
          </a:p>
        </p:txBody>
      </p:sp>
      <p:sp>
        <p:nvSpPr>
          <p:cNvPr id="7" name="Rectangle 6"/>
          <p:cNvSpPr/>
          <p:nvPr/>
        </p:nvSpPr>
        <p:spPr>
          <a:xfrm>
            <a:off x="3960813" y="3290341"/>
            <a:ext cx="28194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rgbClr val="00B050"/>
                </a:solidFill>
              </a:rPr>
              <a:t>Eye washer</a:t>
            </a:r>
          </a:p>
        </p:txBody>
      </p:sp>
      <p:sp>
        <p:nvSpPr>
          <p:cNvPr id="8" name="Rectangle 7"/>
          <p:cNvSpPr/>
          <p:nvPr/>
        </p:nvSpPr>
        <p:spPr>
          <a:xfrm>
            <a:off x="7085012" y="3352800"/>
            <a:ext cx="2590800"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rgbClr val="FF0000"/>
                </a:solidFill>
              </a:rPr>
              <a:t>Fire Safety</a:t>
            </a:r>
          </a:p>
        </p:txBody>
      </p:sp>
      <p:sp>
        <p:nvSpPr>
          <p:cNvPr id="9" name="Rectangle 8"/>
          <p:cNvSpPr/>
          <p:nvPr/>
        </p:nvSpPr>
        <p:spPr>
          <a:xfrm>
            <a:off x="9591198" y="3428375"/>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1"/>
                </a:solidFill>
              </a:rPr>
              <a:t>PPE</a:t>
            </a:r>
          </a:p>
        </p:txBody>
      </p:sp>
      <p:sp>
        <p:nvSpPr>
          <p:cNvPr id="10" name="Rectangle 9"/>
          <p:cNvSpPr/>
          <p:nvPr/>
        </p:nvSpPr>
        <p:spPr>
          <a:xfrm>
            <a:off x="6169029" y="6019800"/>
            <a:ext cx="404018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1"/>
                </a:solidFill>
              </a:rPr>
              <a:t>Waste Disposal</a:t>
            </a:r>
          </a:p>
        </p:txBody>
      </p:sp>
    </p:spTree>
    <p:extLst>
      <p:ext uri="{BB962C8B-B14F-4D97-AF65-F5344CB8AC3E}">
        <p14:creationId xmlns:p14="http://schemas.microsoft.com/office/powerpoint/2010/main" val="2254279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Maintain a clean working area and work surfaces</a:t>
            </a:r>
          </a:p>
        </p:txBody>
      </p:sp>
      <p:sp>
        <p:nvSpPr>
          <p:cNvPr id="22531" name="Rectangle 3"/>
          <p:cNvSpPr>
            <a:spLocks noGrp="1" noChangeArrowheads="1"/>
          </p:cNvSpPr>
          <p:nvPr>
            <p:ph type="body" sz="half" idx="1"/>
          </p:nvPr>
        </p:nvSpPr>
        <p:spPr>
          <a:xfrm>
            <a:off x="304721" y="1263877"/>
            <a:ext cx="11367772" cy="5060731"/>
          </a:xfrm>
        </p:spPr>
        <p:txBody>
          <a:bodyPr>
            <a:normAutofit fontScale="85000" lnSpcReduction="10000"/>
          </a:bodyPr>
          <a:lstStyle/>
          <a:p>
            <a:pPr marL="365760" indent="-256032" fontAlgn="auto">
              <a:lnSpc>
                <a:spcPct val="80000"/>
              </a:lnSpc>
              <a:spcAft>
                <a:spcPts val="0"/>
              </a:spcAft>
              <a:buClr>
                <a:schemeClr val="bg1"/>
              </a:buClr>
              <a:buFont typeface="Arial" pitchFamily="34" charset="0"/>
              <a:buChar char="•"/>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work areas uncluttered and clean</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Disinfect work surfaces daily</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Restrict or limit access when working</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all necessary supplies ready</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Store supplies in a safe/secure area</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eye wash units in working order and within expiry date</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hand washing basin/sink clean and uncluttered </a:t>
            </a:r>
          </a:p>
          <a:p>
            <a:pPr marL="365760" indent="-256032" fontAlgn="auto">
              <a:lnSpc>
                <a:spcPct val="80000"/>
              </a:lnSpc>
              <a:spcAft>
                <a:spcPts val="0"/>
              </a:spcAft>
              <a:buClr>
                <a:schemeClr val="bg1"/>
              </a:buClr>
              <a:buFont typeface="Georgia"/>
              <a:buChar char="•"/>
              <a:defRPr/>
            </a:pPr>
            <a:endParaRPr lang="en-US" sz="2400" dirty="0"/>
          </a:p>
        </p:txBody>
      </p:sp>
      <p:pic>
        <p:nvPicPr>
          <p:cNvPr id="3277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2074" y="4648217"/>
            <a:ext cx="4168747"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5326" y="1340068"/>
            <a:ext cx="2844059"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43194" y="3169170"/>
            <a:ext cx="2336191"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07024952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2539" y="4862537"/>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TextBox 6"/>
          <p:cNvSpPr txBox="1"/>
          <p:nvPr/>
        </p:nvSpPr>
        <p:spPr>
          <a:xfrm>
            <a:off x="566462" y="1887148"/>
            <a:ext cx="10959395" cy="4524315"/>
          </a:xfrm>
          <a:prstGeom prst="rect">
            <a:avLst/>
          </a:prstGeom>
          <a:noFill/>
        </p:spPr>
        <p:txBody>
          <a:bodyPr wrap="square">
            <a:spAutoFit/>
          </a:bodyPr>
          <a:lstStyle/>
          <a:p>
            <a:pPr marL="850900" indent="-398463" algn="just" fontAlgn="auto">
              <a:spcAft>
                <a:spcPts val="0"/>
              </a:spcAft>
              <a:buFont typeface="Wingdings" panose="05000000000000000000" pitchFamily="2" charset="2"/>
              <a:buChar char="q"/>
              <a:defRPr/>
            </a:pPr>
            <a:r>
              <a:rPr lang="en-US" sz="2400" dirty="0">
                <a:latin typeface="Calibri" pitchFamily="34" charset="0"/>
              </a:rPr>
              <a:t>Understand the critical role of the laboratory system for POC testing </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Explain the systems approach to laboratory quality assurance and its benefits</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Identify the essential elements of laboratory quality systems and how they apply to POC testing; recognize key factors that may compromise the quality of POC testing</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Understand the importance of safety practices and waste management </a:t>
            </a:r>
          </a:p>
          <a:p>
            <a:pPr marL="850900" indent="-398463" fontAlgn="auto">
              <a:spcAft>
                <a:spcPts val="0"/>
              </a:spcAft>
              <a:buFont typeface="Wingdings" panose="05000000000000000000" pitchFamily="2" charset="2"/>
              <a:buChar char="q"/>
              <a:defRPr/>
            </a:pPr>
            <a:endParaRPr lang="en-US" sz="2400" dirty="0">
              <a:latin typeface="Calibri" pitchFamily="34" charset="0"/>
            </a:endParaRPr>
          </a:p>
          <a:p>
            <a:pPr marL="850900" indent="-398463" fontAlgn="auto">
              <a:spcAft>
                <a:spcPts val="0"/>
              </a:spcAft>
              <a:buFont typeface="Wingdings" panose="05000000000000000000" pitchFamily="2" charset="2"/>
              <a:buChar char="q"/>
              <a:defRPr/>
            </a:pPr>
            <a:r>
              <a:rPr lang="en-US" sz="2400" dirty="0">
                <a:latin typeface="Calibri" pitchFamily="34" charset="0"/>
              </a:rPr>
              <a:t>Understand the importance of correct documentation for data </a:t>
            </a:r>
            <a:br>
              <a:rPr lang="en-US" sz="2400" dirty="0">
                <a:latin typeface="Calibri" pitchFamily="34" charset="0"/>
              </a:rPr>
            </a:br>
            <a:r>
              <a:rPr lang="en-US" sz="2400" dirty="0">
                <a:latin typeface="Calibri" pitchFamily="34" charset="0"/>
              </a:rPr>
              <a:t>collection, supply chain and device management</a:t>
            </a:r>
          </a:p>
        </p:txBody>
      </p:sp>
      <p:sp>
        <p:nvSpPr>
          <p:cNvPr id="11" name="Rectangle 10"/>
          <p:cNvSpPr/>
          <p:nvPr/>
        </p:nvSpPr>
        <p:spPr>
          <a:xfrm>
            <a:off x="533400" y="1419245"/>
            <a:ext cx="7467600" cy="461665"/>
          </a:xfrm>
          <a:prstGeom prst="rect">
            <a:avLst/>
          </a:prstGeom>
        </p:spPr>
        <p:txBody>
          <a:bodyPr>
            <a:spAutoFit/>
          </a:bodyPr>
          <a:lstStyle/>
          <a:p>
            <a:pPr>
              <a:defRPr/>
            </a:pPr>
            <a:r>
              <a:rPr lang="en-US" sz="2400" b="1" dirty="0">
                <a:latin typeface="Calibri" panose="020F0502020204030204" pitchFamily="34" charset="0"/>
                <a:ea typeface="ＭＳ Ｐゴシック" pitchFamily="34" charset="-128"/>
                <a:cs typeface="Arabic Typesetting" pitchFamily="66" charset="-78"/>
              </a:rPr>
              <a:t>By the end of this module, participants should be able to:</a:t>
            </a:r>
          </a:p>
        </p:txBody>
      </p:sp>
    </p:spTree>
    <p:extLst>
      <p:ext uri="{BB962C8B-B14F-4D97-AF65-F5344CB8AC3E}">
        <p14:creationId xmlns:p14="http://schemas.microsoft.com/office/powerpoint/2010/main" val="3488412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disinfe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3295" y="2143951"/>
            <a:ext cx="4062942" cy="329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isinfect work areas with bleach</a:t>
            </a:r>
          </a:p>
        </p:txBody>
      </p:sp>
      <p:sp>
        <p:nvSpPr>
          <p:cNvPr id="31747" name="Rectangle 3"/>
          <p:cNvSpPr>
            <a:spLocks noGrp="1" noChangeArrowheads="1"/>
          </p:cNvSpPr>
          <p:nvPr>
            <p:ph type="body" sz="half" idx="1"/>
          </p:nvPr>
        </p:nvSpPr>
        <p:spPr>
          <a:xfrm>
            <a:off x="304721" y="1177167"/>
            <a:ext cx="11579384" cy="5064125"/>
          </a:xfrm>
        </p:spPr>
        <p:txBody>
          <a:bodyPr>
            <a:normAutofit/>
          </a:bodyPr>
          <a:lstStyle/>
          <a:p>
            <a:pPr marL="365760" indent="-256032" fontAlgn="auto">
              <a:spcAft>
                <a:spcPts val="0"/>
              </a:spcAft>
              <a:buClr>
                <a:schemeClr val="accent3"/>
              </a:buClr>
              <a:buFont typeface="Wingdings 3" pitchFamily="18" charset="2"/>
              <a:buNone/>
              <a:defRPr/>
            </a:pPr>
            <a:r>
              <a:rPr lang="en-US" sz="2400" b="1" dirty="0">
                <a:solidFill>
                  <a:srgbClr val="C00000"/>
                </a:solidFill>
                <a:latin typeface="Calibri" pitchFamily="34" charset="0"/>
              </a:rPr>
              <a:t>Disinfection</a:t>
            </a:r>
            <a:r>
              <a:rPr lang="en-US" sz="2400" dirty="0">
                <a:latin typeface="Calibri" pitchFamily="34" charset="0"/>
              </a:rPr>
              <a:t>: </a:t>
            </a:r>
            <a:r>
              <a:rPr lang="en-GB" sz="2400" kern="0" dirty="0">
                <a:solidFill>
                  <a:srgbClr val="000000"/>
                </a:solidFill>
                <a:latin typeface="Calibri" pitchFamily="34" charset="0"/>
              </a:rPr>
              <a:t>Use of chemical agents to destroy harmful organisms on inanimate objects</a:t>
            </a:r>
          </a:p>
          <a:p>
            <a:pPr marL="365760" indent="-256032" fontAlgn="auto">
              <a:spcAft>
                <a:spcPts val="0"/>
              </a:spcAft>
              <a:buClr>
                <a:schemeClr val="accent3"/>
              </a:buClr>
              <a:buFont typeface="Wingdings 3" pitchFamily="18" charset="2"/>
              <a:buNone/>
              <a:defRPr/>
            </a:pPr>
            <a:endParaRPr lang="en-GB" sz="2400" kern="0" dirty="0">
              <a:solidFill>
                <a:srgbClr val="000000"/>
              </a:solidFill>
              <a:latin typeface="+mj-lt"/>
            </a:endParaRPr>
          </a:p>
          <a:p>
            <a:pPr marL="365760" indent="-256032" fontAlgn="auto">
              <a:spcAft>
                <a:spcPts val="0"/>
              </a:spcAft>
              <a:buClr>
                <a:schemeClr val="accent3"/>
              </a:buClr>
              <a:buFont typeface="Wingdings 3" pitchFamily="18" charset="2"/>
              <a:buNone/>
              <a:defRPr/>
            </a:pPr>
            <a:r>
              <a:rPr lang="en-GB" sz="2400" b="1" kern="0" dirty="0">
                <a:solidFill>
                  <a:srgbClr val="C00000"/>
                </a:solidFill>
                <a:latin typeface="Calibri" pitchFamily="34" charset="0"/>
              </a:rPr>
              <a:t>Chlorine compounds </a:t>
            </a:r>
            <a:r>
              <a:rPr lang="en-GB" sz="2400" kern="0" dirty="0">
                <a:solidFill>
                  <a:srgbClr val="000000"/>
                </a:solidFill>
                <a:latin typeface="Calibri" pitchFamily="34" charset="0"/>
              </a:rPr>
              <a:t>or </a:t>
            </a:r>
            <a:r>
              <a:rPr lang="en-GB" sz="2400" b="1" kern="0" dirty="0">
                <a:solidFill>
                  <a:srgbClr val="C00000"/>
                </a:solidFill>
                <a:latin typeface="Calibri" pitchFamily="34" charset="0"/>
              </a:rPr>
              <a:t>Alcohol (70%)</a:t>
            </a:r>
            <a:endParaRPr lang="en-US" sz="2400" b="1" dirty="0">
              <a:solidFill>
                <a:srgbClr val="C00000"/>
              </a:solidFill>
              <a:latin typeface="Calibri" pitchFamily="34" charset="0"/>
            </a:endParaRPr>
          </a:p>
          <a:p>
            <a:pPr marL="365760" indent="-256032" fontAlgn="auto">
              <a:spcAft>
                <a:spcPts val="0"/>
              </a:spcAft>
              <a:buClr>
                <a:schemeClr val="accent3"/>
              </a:buClr>
              <a:buFont typeface="Wingdings 3" pitchFamily="18" charset="2"/>
              <a:buNone/>
              <a:defRPr/>
            </a:pPr>
            <a:endParaRPr lang="en-US" sz="2400" dirty="0">
              <a:latin typeface="Calibri" pitchFamily="34" charset="0"/>
            </a:endParaRPr>
          </a:p>
          <a:p>
            <a:pPr marL="452628" fontAlgn="auto">
              <a:spcAft>
                <a:spcPts val="0"/>
              </a:spcAft>
              <a:defRPr/>
            </a:pPr>
            <a:r>
              <a:rPr lang="en-US" sz="2000" dirty="0">
                <a:latin typeface="Calibri" pitchFamily="34" charset="0"/>
              </a:rPr>
              <a:t>Kills germs and pathogens</a:t>
            </a:r>
          </a:p>
          <a:p>
            <a:pPr marL="452628" fontAlgn="auto">
              <a:spcAft>
                <a:spcPts val="0"/>
              </a:spcAft>
              <a:defRPr/>
            </a:pPr>
            <a:r>
              <a:rPr lang="en-US" sz="2000" dirty="0">
                <a:latin typeface="Calibri" pitchFamily="34" charset="0"/>
              </a:rPr>
              <a:t>Keeps work surface clean</a:t>
            </a:r>
          </a:p>
          <a:p>
            <a:pPr marL="452628" fontAlgn="auto">
              <a:spcAft>
                <a:spcPts val="0"/>
              </a:spcAft>
              <a:defRPr/>
            </a:pPr>
            <a:r>
              <a:rPr lang="en-US" sz="2000" dirty="0">
                <a:latin typeface="Calibri" pitchFamily="34" charset="0"/>
              </a:rPr>
              <a:t>Prevents cross-contamination</a:t>
            </a:r>
          </a:p>
          <a:p>
            <a:pPr marL="452628" fontAlgn="auto">
              <a:spcAft>
                <a:spcPts val="0"/>
              </a:spcAft>
              <a:defRPr/>
            </a:pPr>
            <a:r>
              <a:rPr lang="en-US" sz="2000" dirty="0">
                <a:latin typeface="Calibri" pitchFamily="34" charset="0"/>
              </a:rPr>
              <a:t>Reduces risks of infection</a:t>
            </a:r>
          </a:p>
        </p:txBody>
      </p:sp>
      <p:graphicFrame>
        <p:nvGraphicFramePr>
          <p:cNvPr id="3074" name="Object 4"/>
          <p:cNvGraphicFramePr>
            <a:graphicFrameLocks noGrp="1" noChangeAspect="1"/>
          </p:cNvGraphicFramePr>
          <p:nvPr>
            <p:ph sz="half" idx="2"/>
            <p:extLst>
              <p:ext uri="{D42A27DB-BD31-4B8C-83A1-F6EECF244321}">
                <p14:modId xmlns:p14="http://schemas.microsoft.com/office/powerpoint/2010/main" val="3242581176"/>
              </p:ext>
            </p:extLst>
          </p:nvPr>
        </p:nvGraphicFramePr>
        <p:xfrm>
          <a:off x="9649498" y="5139579"/>
          <a:ext cx="2103419" cy="1577975"/>
        </p:xfrm>
        <a:graphic>
          <a:graphicData uri="http://schemas.openxmlformats.org/presentationml/2006/ole">
            <mc:AlternateContent xmlns:mc="http://schemas.openxmlformats.org/markup-compatibility/2006">
              <mc:Choice xmlns:v="urn:schemas-microsoft-com:vml" Requires="v">
                <p:oleObj spid="_x0000_s8214" name="CorelDRAW" r:id="rId5" imgW="914400" imgH="914400" progId="CorelDraw.Graphic.8">
                  <p:embed/>
                </p:oleObj>
              </mc:Choice>
              <mc:Fallback>
                <p:oleObj name="CorelDRAW" r:id="rId5" imgW="914400" imgH="914400" progId="CorelDraw.Graphic.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9498" y="5139579"/>
                        <a:ext cx="2103419" cy="1577975"/>
                      </a:xfrm>
                      <a:prstGeom prst="rect">
                        <a:avLst/>
                      </a:prstGeom>
                      <a:noFill/>
                      <a:ln>
                        <a:noFill/>
                      </a:ln>
                      <a:effectLst>
                        <a:outerShdw dist="56796" dir="1593903"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219577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Sharps and waste containers – Don’ts </a:t>
            </a:r>
          </a:p>
        </p:txBody>
      </p:sp>
      <p:sp>
        <p:nvSpPr>
          <p:cNvPr id="25603" name="Rectangle 3"/>
          <p:cNvSpPr>
            <a:spLocks noGrp="1" noChangeArrowheads="1"/>
          </p:cNvSpPr>
          <p:nvPr>
            <p:ph type="body" sz="half" idx="1"/>
          </p:nvPr>
        </p:nvSpPr>
        <p:spPr>
          <a:xfrm>
            <a:off x="760412" y="1445421"/>
            <a:ext cx="6500707" cy="4424363"/>
          </a:xfrm>
        </p:spPr>
        <p:txBody>
          <a:bodyPr>
            <a:normAutofit lnSpcReduction="10000"/>
          </a:bodyPr>
          <a:lstStyle/>
          <a:p>
            <a:pPr marL="0" indent="0" fontAlgn="auto">
              <a:lnSpc>
                <a:spcPct val="80000"/>
              </a:lnSpc>
              <a:spcAft>
                <a:spcPts val="0"/>
              </a:spcAft>
              <a:buNone/>
              <a:defRPr/>
            </a:pPr>
            <a:r>
              <a:rPr lang="en-US" sz="2400" b="1" dirty="0">
                <a:solidFill>
                  <a:srgbClr val="C00000"/>
                </a:solidFill>
                <a:latin typeface="+mj-lt"/>
              </a:rPr>
              <a:t>Do NOT: </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Break, bend, re-sheath/re-cap or reuse lancets, needles or syringes </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Shake sharps containers to create space</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Allow sharps containers to get full</a:t>
            </a:r>
          </a:p>
          <a:p>
            <a:pPr fontAlgn="auto">
              <a:lnSpc>
                <a:spcPct val="80000"/>
              </a:lnSpc>
              <a:spcAft>
                <a:spcPts val="0"/>
              </a:spcAft>
              <a:defRPr/>
            </a:pPr>
            <a:endParaRPr lang="en-US" sz="2400" dirty="0">
              <a:latin typeface="+mj-lt"/>
            </a:endParaRPr>
          </a:p>
          <a:p>
            <a:pPr fontAlgn="auto">
              <a:lnSpc>
                <a:spcPct val="80000"/>
              </a:lnSpc>
              <a:spcAft>
                <a:spcPts val="0"/>
              </a:spcAft>
              <a:defRPr/>
            </a:pPr>
            <a:r>
              <a:rPr lang="fr-CH" sz="2400" dirty="0">
                <a:solidFill>
                  <a:srgbClr val="000000"/>
                </a:solidFill>
                <a:latin typeface="+mj-lt"/>
              </a:rPr>
              <a:t>Use a container </a:t>
            </a:r>
            <a:r>
              <a:rPr lang="fr-CH" sz="2400" dirty="0" err="1">
                <a:solidFill>
                  <a:srgbClr val="000000"/>
                </a:solidFill>
                <a:latin typeface="+mj-lt"/>
              </a:rPr>
              <a:t>that</a:t>
            </a:r>
            <a:r>
              <a:rPr lang="fr-CH" sz="2400" dirty="0">
                <a:solidFill>
                  <a:srgbClr val="000000"/>
                </a:solidFill>
                <a:latin typeface="+mj-lt"/>
              </a:rPr>
              <a:t> </a:t>
            </a:r>
            <a:r>
              <a:rPr lang="fr-CH" sz="2400" dirty="0" err="1">
                <a:solidFill>
                  <a:srgbClr val="000000"/>
                </a:solidFill>
                <a:latin typeface="+mj-lt"/>
              </a:rPr>
              <a:t>is</a:t>
            </a:r>
            <a:r>
              <a:rPr lang="fr-CH" sz="2400" dirty="0">
                <a:solidFill>
                  <a:srgbClr val="000000"/>
                </a:solidFill>
                <a:latin typeface="+mj-lt"/>
              </a:rPr>
              <a:t> not puncture-resistant, </a:t>
            </a:r>
            <a:r>
              <a:rPr lang="fr-CH" sz="2400" dirty="0" err="1">
                <a:solidFill>
                  <a:srgbClr val="000000"/>
                </a:solidFill>
                <a:latin typeface="+mj-lt"/>
              </a:rPr>
              <a:t>leak</a:t>
            </a:r>
            <a:r>
              <a:rPr lang="fr-CH" sz="2400" dirty="0">
                <a:solidFill>
                  <a:srgbClr val="000000"/>
                </a:solidFill>
                <a:latin typeface="+mj-lt"/>
              </a:rPr>
              <a:t>-proof</a:t>
            </a:r>
          </a:p>
          <a:p>
            <a:pPr fontAlgn="auto">
              <a:lnSpc>
                <a:spcPct val="80000"/>
              </a:lnSpc>
              <a:spcAft>
                <a:spcPts val="0"/>
              </a:spcAft>
              <a:defRPr/>
            </a:pPr>
            <a:endParaRPr lang="fr-CH" sz="2400" dirty="0">
              <a:solidFill>
                <a:srgbClr val="000000"/>
              </a:solidFill>
              <a:latin typeface="+mj-lt"/>
            </a:endParaRPr>
          </a:p>
          <a:p>
            <a:pPr fontAlgn="auto">
              <a:lnSpc>
                <a:spcPct val="80000"/>
              </a:lnSpc>
              <a:spcAft>
                <a:spcPts val="0"/>
              </a:spcAft>
              <a:defRPr/>
            </a:pPr>
            <a:r>
              <a:rPr lang="fr-CH" sz="2400" dirty="0">
                <a:solidFill>
                  <a:srgbClr val="000000"/>
                </a:solidFill>
                <a:latin typeface="+mj-lt"/>
              </a:rPr>
              <a:t>Place the </a:t>
            </a:r>
            <a:r>
              <a:rPr lang="fr-CH" sz="2400" dirty="0" err="1">
                <a:solidFill>
                  <a:srgbClr val="000000"/>
                </a:solidFill>
                <a:latin typeface="+mj-lt"/>
              </a:rPr>
              <a:t>sharps</a:t>
            </a:r>
            <a:r>
              <a:rPr lang="fr-CH" sz="2400" dirty="0">
                <a:solidFill>
                  <a:srgbClr val="000000"/>
                </a:solidFill>
                <a:latin typeface="+mj-lt"/>
              </a:rPr>
              <a:t> container far </a:t>
            </a:r>
            <a:r>
              <a:rPr lang="fr-CH" sz="2400" dirty="0" err="1">
                <a:solidFill>
                  <a:srgbClr val="000000"/>
                </a:solidFill>
                <a:latin typeface="+mj-lt"/>
              </a:rPr>
              <a:t>away</a:t>
            </a:r>
            <a:r>
              <a:rPr lang="fr-CH" sz="2400" dirty="0">
                <a:solidFill>
                  <a:srgbClr val="000000"/>
                </a:solidFill>
                <a:latin typeface="+mj-lt"/>
              </a:rPr>
              <a:t> from </a:t>
            </a:r>
            <a:r>
              <a:rPr lang="fr-CH" sz="2400" dirty="0" err="1">
                <a:solidFill>
                  <a:srgbClr val="000000"/>
                </a:solidFill>
                <a:latin typeface="+mj-lt"/>
              </a:rPr>
              <a:t>work</a:t>
            </a:r>
            <a:r>
              <a:rPr lang="fr-CH" sz="2400" dirty="0">
                <a:solidFill>
                  <a:srgbClr val="000000"/>
                </a:solidFill>
                <a:latin typeface="+mj-lt"/>
              </a:rPr>
              <a:t> surface</a:t>
            </a:r>
          </a:p>
        </p:txBody>
      </p:sp>
      <p:sp>
        <p:nvSpPr>
          <p:cNvPr id="34820" name="Text Box 5"/>
          <p:cNvSpPr txBox="1">
            <a:spLocks noChangeArrowheads="1"/>
          </p:cNvSpPr>
          <p:nvPr/>
        </p:nvSpPr>
        <p:spPr bwMode="auto">
          <a:xfrm>
            <a:off x="11376235" y="6400817"/>
            <a:ext cx="36099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US" altLang="en-US" sz="1000">
                <a:solidFill>
                  <a:prstClr val="black"/>
                </a:solidFill>
                <a:ea typeface="ＭＳ Ｐゴシック" pitchFamily="34" charset="-128"/>
              </a:rPr>
              <a:t>2.4</a:t>
            </a:r>
          </a:p>
        </p:txBody>
      </p:sp>
      <p:pic>
        <p:nvPicPr>
          <p:cNvPr id="34821" name="Picture 7" descr="remove-need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442" y="1219217"/>
            <a:ext cx="3961368"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Picture 5" descr="pointlok needle safe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6442" y="3657600"/>
            <a:ext cx="3961368" cy="243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72861067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Good practice for handling sharps </a:t>
            </a:r>
            <a:endParaRPr lang="en-GB" altLang="en-US" sz="2400" dirty="0">
              <a:solidFill>
                <a:schemeClr val="bg1"/>
              </a:solidFill>
              <a:ea typeface="+mj-ea"/>
              <a:cs typeface="+mj-cs"/>
            </a:endParaRPr>
          </a:p>
        </p:txBody>
      </p:sp>
      <p:sp>
        <p:nvSpPr>
          <p:cNvPr id="43010" name="Rectangle 3"/>
          <p:cNvSpPr>
            <a:spLocks noGrp="1" noChangeArrowheads="1"/>
          </p:cNvSpPr>
          <p:nvPr>
            <p:ph idx="1"/>
          </p:nvPr>
        </p:nvSpPr>
        <p:spPr>
          <a:xfrm>
            <a:off x="507867" y="1395261"/>
            <a:ext cx="7414869" cy="5364163"/>
          </a:xfrm>
        </p:spPr>
        <p:txBody>
          <a:bodyPr>
            <a:normAutofit/>
          </a:bodyPr>
          <a:lstStyle/>
          <a:p>
            <a:pPr marL="452628" fontAlgn="auto">
              <a:lnSpc>
                <a:spcPct val="80000"/>
              </a:lnSpc>
              <a:spcAft>
                <a:spcPts val="0"/>
              </a:spcAft>
              <a:defRPr/>
            </a:pPr>
            <a:r>
              <a:rPr lang="en-US" sz="2400" dirty="0">
                <a:latin typeface="Calibri" pitchFamily="34" charset="0"/>
              </a:rPr>
              <a:t>The use is responsible for disposal of sharps</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Users must dispose of sharps after </a:t>
            </a:r>
            <a:r>
              <a:rPr lang="en-US" sz="2400" i="1" u="sng" dirty="0">
                <a:latin typeface="Calibri" pitchFamily="34" charset="0"/>
              </a:rPr>
              <a:t>each</a:t>
            </a:r>
            <a:r>
              <a:rPr lang="en-US" sz="2400" dirty="0">
                <a:latin typeface="Calibri" pitchFamily="34" charset="0"/>
              </a:rPr>
              <a:t> test</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Users must place sharps in sharps boxes</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i="1" u="sng" dirty="0">
                <a:latin typeface="Calibri" pitchFamily="34" charset="0"/>
              </a:rPr>
              <a:t>Do not</a:t>
            </a:r>
            <a:r>
              <a:rPr lang="en-US" sz="2400" i="1" dirty="0">
                <a:latin typeface="Calibri" pitchFamily="34" charset="0"/>
              </a:rPr>
              <a:t> </a:t>
            </a:r>
            <a:r>
              <a:rPr lang="en-US" sz="2400" dirty="0">
                <a:latin typeface="Calibri" pitchFamily="34" charset="0"/>
              </a:rPr>
              <a:t>drop sharps on the floor or in the office waste bin</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Place sharps container near your workspace</a:t>
            </a:r>
          </a:p>
          <a:p>
            <a:pPr marL="109537" indent="0" fontAlgn="auto">
              <a:lnSpc>
                <a:spcPct val="80000"/>
              </a:lnSpc>
              <a:spcAft>
                <a:spcPts val="0"/>
              </a:spcAft>
              <a:buNone/>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Seal and remove when box is </a:t>
            </a:r>
            <a:r>
              <a:rPr lang="en-US" sz="2400" dirty="0">
                <a:latin typeface="Calibri" pitchFamily="34" charset="0"/>
                <a:cs typeface="Arial" charset="0"/>
              </a:rPr>
              <a:t>¾ </a:t>
            </a:r>
            <a:r>
              <a:rPr lang="en-US" sz="2400" dirty="0">
                <a:latin typeface="Calibri" pitchFamily="34" charset="0"/>
              </a:rPr>
              <a:t>full</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Incinerate all waste</a:t>
            </a:r>
          </a:p>
        </p:txBody>
      </p:sp>
      <p:pic>
        <p:nvPicPr>
          <p:cNvPr id="3584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8471" y="1101342"/>
            <a:ext cx="2539339" cy="290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4" descr="fingerstick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0773" y="4181999"/>
            <a:ext cx="318898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207562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Emergency Response – spill and splash</a:t>
            </a:r>
          </a:p>
        </p:txBody>
      </p:sp>
      <p:pic>
        <p:nvPicPr>
          <p:cNvPr id="36867" name="Picture 6" descr="spilled"/>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938472" y="4876817"/>
            <a:ext cx="2975258" cy="163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8" name="Picture 9" descr="smalspill3">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930" y="1328738"/>
            <a:ext cx="4266089"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58224" y="3962400"/>
            <a:ext cx="4526372"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11721" y="1323992"/>
            <a:ext cx="4268206"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103110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hat to do in the event of contamination </a:t>
            </a: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8" name="Rectangle 3"/>
          <p:cNvSpPr>
            <a:spLocks noGrp="1" noChangeArrowheads="1"/>
          </p:cNvSpPr>
          <p:nvPr>
            <p:ph idx="1"/>
          </p:nvPr>
        </p:nvSpPr>
        <p:spPr>
          <a:xfrm>
            <a:off x="433178" y="2024418"/>
            <a:ext cx="5484971" cy="4300182"/>
          </a:xfrm>
          <a:ln>
            <a:solidFill>
              <a:schemeClr val="accent1"/>
            </a:solidFill>
          </a:ln>
        </p:spPr>
        <p:txBody>
          <a:bodyPr anchor="ctr">
            <a:normAutofit fontScale="92500" lnSpcReduction="10000"/>
          </a:bodyPr>
          <a:lstStyle/>
          <a:p>
            <a:pPr marL="566928" indent="-457200">
              <a:spcBef>
                <a:spcPts val="300"/>
              </a:spcBef>
              <a:buFont typeface="+mj-lt"/>
              <a:buAutoNum type="arabicPeriod"/>
              <a:defRPr/>
            </a:pPr>
            <a:r>
              <a:rPr lang="en-US" sz="2400" dirty="0">
                <a:solidFill>
                  <a:prstClr val="black"/>
                </a:solidFill>
              </a:rPr>
              <a:t>Alert co-workers</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Clean exposed surface with soap/water, eyewash (eyes), or saline (mouth)</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Apply first aid and treat as an emergency</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Notify supervisor. Write occurrence report </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Report to medical clinic for counseling/ treatment (e.g. PEP)</a:t>
            </a:r>
          </a:p>
        </p:txBody>
      </p:sp>
      <p:sp>
        <p:nvSpPr>
          <p:cNvPr id="9" name="Rectangle 3"/>
          <p:cNvSpPr txBox="1">
            <a:spLocks noChangeArrowheads="1"/>
          </p:cNvSpPr>
          <p:nvPr/>
        </p:nvSpPr>
        <p:spPr>
          <a:xfrm>
            <a:off x="6332020" y="2024418"/>
            <a:ext cx="5477392" cy="4300182"/>
          </a:xfrm>
          <a:prstGeom prst="rect">
            <a:avLst/>
          </a:prstGeom>
          <a:ln>
            <a:solidFill>
              <a:schemeClr val="accent1"/>
            </a:solidFill>
          </a:ln>
        </p:spPr>
        <p:txBody>
          <a:bodyPr vert="horz" anchor="ctr">
            <a:normAutofit fontScale="85000" lnSpcReduction="20000"/>
          </a:bodyPr>
          <a:lstStyle/>
          <a:p>
            <a:pPr marL="365760" indent="-256032">
              <a:spcBef>
                <a:spcPts val="300"/>
              </a:spcBef>
              <a:buClr>
                <a:srgbClr val="9BBB59"/>
              </a:buClr>
              <a:defRPr/>
            </a:pPr>
            <a:r>
              <a:rPr lang="en-US" sz="2400" dirty="0">
                <a:solidFill>
                  <a:prstClr val="black"/>
                </a:solidFill>
              </a:rPr>
              <a:t>1. Alert co-workers</a:t>
            </a:r>
          </a:p>
          <a:p>
            <a:pPr marL="365760" indent="-256032">
              <a:spcBef>
                <a:spcPts val="300"/>
              </a:spcBef>
              <a:buClr>
                <a:srgbClr val="9BBB59"/>
              </a:buClr>
              <a:defRPr/>
            </a:pPr>
            <a:r>
              <a:rPr lang="en-US" sz="2400" dirty="0">
                <a:solidFill>
                  <a:prstClr val="black"/>
                </a:solidFill>
              </a:rPr>
              <a:t>2. Define/isolate contaminated area</a:t>
            </a:r>
          </a:p>
          <a:p>
            <a:pPr marL="365760" indent="-256032">
              <a:spcBef>
                <a:spcPts val="300"/>
              </a:spcBef>
              <a:buClr>
                <a:srgbClr val="9BBB59"/>
              </a:buClr>
              <a:defRPr/>
            </a:pPr>
            <a:r>
              <a:rPr lang="en-US" sz="2400" dirty="0">
                <a:solidFill>
                  <a:prstClr val="black"/>
                </a:solidFill>
              </a:rPr>
              <a:t>3. Put on appropriate PPE</a:t>
            </a:r>
          </a:p>
          <a:p>
            <a:pPr marL="365760" indent="-256032">
              <a:spcBef>
                <a:spcPts val="300"/>
              </a:spcBef>
              <a:buClr>
                <a:srgbClr val="9BBB59"/>
              </a:buClr>
              <a:defRPr/>
            </a:pPr>
            <a:r>
              <a:rPr lang="en-US" sz="2400" dirty="0">
                <a:solidFill>
                  <a:prstClr val="black"/>
                </a:solidFill>
              </a:rPr>
              <a:t>4. Remove glass/lumps with forceps or scoop</a:t>
            </a:r>
          </a:p>
          <a:p>
            <a:pPr marL="365760" indent="-256032">
              <a:spcBef>
                <a:spcPts val="300"/>
              </a:spcBef>
              <a:buClr>
                <a:srgbClr val="9BBB59"/>
              </a:buClr>
              <a:defRPr/>
            </a:pPr>
            <a:r>
              <a:rPr lang="en-US" sz="2400" dirty="0">
                <a:solidFill>
                  <a:prstClr val="black"/>
                </a:solidFill>
              </a:rPr>
              <a:t>5. Apply absorbent towel(s) and wet with water to spill; remove bulk &amp; reapply if needed. Then dry the area with absorbent paper towels to ensure all residual liquid are removed </a:t>
            </a:r>
          </a:p>
          <a:p>
            <a:pPr marL="365760" indent="-256032">
              <a:spcBef>
                <a:spcPts val="300"/>
              </a:spcBef>
              <a:buClr>
                <a:srgbClr val="9BBB59"/>
              </a:buClr>
              <a:defRPr/>
            </a:pPr>
            <a:r>
              <a:rPr lang="en-US" sz="2400" dirty="0">
                <a:solidFill>
                  <a:prstClr val="black"/>
                </a:solidFill>
              </a:rPr>
              <a:t>6. Apply disinfectant to towel surface (10% bleach or 1% v/v Sodium </a:t>
            </a:r>
            <a:r>
              <a:rPr lang="en-US" sz="2400" dirty="0" err="1">
                <a:solidFill>
                  <a:prstClr val="black"/>
                </a:solidFill>
              </a:rPr>
              <a:t>Hypchlorite</a:t>
            </a:r>
            <a:endParaRPr lang="en-US" sz="2400" dirty="0">
              <a:solidFill>
                <a:prstClr val="black"/>
              </a:solidFill>
            </a:endParaRPr>
          </a:p>
          <a:p>
            <a:pPr marL="365760" indent="-256032">
              <a:spcBef>
                <a:spcPts val="300"/>
              </a:spcBef>
              <a:buClr>
                <a:srgbClr val="9BBB59"/>
              </a:buClr>
              <a:defRPr/>
            </a:pPr>
            <a:r>
              <a:rPr lang="en-US" sz="2400" i="1" dirty="0">
                <a:solidFill>
                  <a:prstClr val="black"/>
                </a:solidFill>
              </a:rPr>
              <a:t>7. </a:t>
            </a:r>
            <a:r>
              <a:rPr lang="en-US" sz="2400" dirty="0">
                <a:solidFill>
                  <a:prstClr val="black"/>
                </a:solidFill>
              </a:rPr>
              <a:t>Allow adequate contact time </a:t>
            </a:r>
            <a:r>
              <a:rPr lang="en-US" sz="2400" i="1" dirty="0">
                <a:solidFill>
                  <a:prstClr val="black"/>
                </a:solidFill>
              </a:rPr>
              <a:t>(15-20 mins)</a:t>
            </a:r>
          </a:p>
          <a:p>
            <a:pPr marL="365760" indent="-256032">
              <a:spcBef>
                <a:spcPts val="300"/>
              </a:spcBef>
              <a:buClr>
                <a:srgbClr val="9BBB59"/>
              </a:buClr>
              <a:defRPr/>
            </a:pPr>
            <a:r>
              <a:rPr lang="en-US" sz="2400" dirty="0">
                <a:solidFill>
                  <a:prstClr val="black"/>
                </a:solidFill>
              </a:rPr>
              <a:t>8. Remove towel, mop up; clean with alcohol or soap/water</a:t>
            </a:r>
          </a:p>
          <a:p>
            <a:pPr marL="365760" indent="-256032">
              <a:spcBef>
                <a:spcPts val="300"/>
              </a:spcBef>
              <a:buClr>
                <a:srgbClr val="9BBB59"/>
              </a:buClr>
              <a:defRPr/>
            </a:pPr>
            <a:r>
              <a:rPr lang="en-US" sz="2400" dirty="0">
                <a:solidFill>
                  <a:prstClr val="black"/>
                </a:solidFill>
              </a:rPr>
              <a:t>9. Properly dispose of materials</a:t>
            </a:r>
          </a:p>
          <a:p>
            <a:pPr marL="365760" indent="-256032">
              <a:spcBef>
                <a:spcPts val="300"/>
              </a:spcBef>
              <a:buClr>
                <a:srgbClr val="9BBB59"/>
              </a:buClr>
              <a:defRPr/>
            </a:pPr>
            <a:r>
              <a:rPr lang="en-US" sz="2400" dirty="0">
                <a:solidFill>
                  <a:prstClr val="black"/>
                </a:solidFill>
              </a:rPr>
              <a:t>10. Notify supervisor</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ersonal contamination</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Surface contamination</a:t>
            </a:r>
          </a:p>
        </p:txBody>
      </p:sp>
    </p:spTree>
    <p:extLst>
      <p:ext uri="{BB962C8B-B14F-4D97-AF65-F5344CB8AC3E}">
        <p14:creationId xmlns:p14="http://schemas.microsoft.com/office/powerpoint/2010/main" val="2529220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Content Placeholder 2"/>
          <p:cNvSpPr>
            <a:spLocks noGrp="1"/>
          </p:cNvSpPr>
          <p:nvPr>
            <p:ph idx="1"/>
          </p:nvPr>
        </p:nvSpPr>
        <p:spPr>
          <a:xfrm>
            <a:off x="379412" y="2514600"/>
            <a:ext cx="6553200" cy="2819400"/>
          </a:xfrm>
        </p:spPr>
        <p:txBody>
          <a:bodyPr>
            <a:noAutofit/>
          </a:bodyPr>
          <a:lstStyle/>
          <a:p>
            <a:pPr marL="109728" indent="0" fontAlgn="auto">
              <a:spcAft>
                <a:spcPts val="0"/>
              </a:spcAft>
              <a:buNone/>
              <a:defRPr/>
            </a:pPr>
            <a:r>
              <a:rPr lang="en-US" sz="2400" b="1" dirty="0">
                <a:latin typeface="Calibri" pitchFamily="34" charset="0"/>
                <a:cs typeface="Arial" charset="0"/>
              </a:rPr>
              <a:t>Waste is any material that is “discarded” or intended to be discarded </a:t>
            </a:r>
          </a:p>
          <a:p>
            <a:pPr marL="165100" indent="-55563" fontAlgn="auto">
              <a:spcAft>
                <a:spcPts val="0"/>
              </a:spcAft>
              <a:buClr>
                <a:schemeClr val="accent3"/>
              </a:buClr>
              <a:buFont typeface="Wingdings" pitchFamily="2" charset="2"/>
              <a:buNone/>
              <a:defRPr/>
            </a:pPr>
            <a:endParaRPr lang="en-US" sz="2400" b="1" dirty="0">
              <a:latin typeface="Calibri" pitchFamily="34" charset="0"/>
            </a:endParaRPr>
          </a:p>
          <a:p>
            <a:pPr marL="120650" indent="-11113" fontAlgn="auto">
              <a:spcAft>
                <a:spcPts val="0"/>
              </a:spcAft>
              <a:buClr>
                <a:schemeClr val="accent3"/>
              </a:buClr>
              <a:buFont typeface="Wingdings" pitchFamily="2" charset="2"/>
              <a:buNone/>
              <a:defRPr/>
            </a:pPr>
            <a:r>
              <a:rPr lang="en-US" sz="2400" b="1" dirty="0">
                <a:solidFill>
                  <a:srgbClr val="00B050"/>
                </a:solidFill>
                <a:latin typeface="Calibri" pitchFamily="34" charset="0"/>
              </a:rPr>
              <a:t>Waste management</a:t>
            </a:r>
            <a:r>
              <a:rPr lang="en-US" sz="2400" dirty="0">
                <a:solidFill>
                  <a:srgbClr val="00B050"/>
                </a:solidFill>
                <a:latin typeface="Calibri" pitchFamily="34" charset="0"/>
              </a:rPr>
              <a:t> </a:t>
            </a:r>
            <a:r>
              <a:rPr lang="en-US" sz="2400" dirty="0">
                <a:solidFill>
                  <a:schemeClr val="bg2">
                    <a:lumMod val="10000"/>
                  </a:schemeClr>
                </a:solidFill>
                <a:latin typeface="Calibri" pitchFamily="34" charset="0"/>
              </a:rPr>
              <a:t>is the collection, processing, recycling, disposal, monitoring and transport of waste materials</a:t>
            </a:r>
          </a:p>
        </p:txBody>
      </p:sp>
      <p:sp>
        <p:nvSpPr>
          <p:cNvPr id="5124" name="Slide Number Placeholder 4"/>
          <p:cNvSpPr>
            <a:spLocks noGrp="1"/>
          </p:cNvSpPr>
          <p:nvPr>
            <p:ph type="sldNum" sz="quarter" idx="12"/>
          </p:nvPr>
        </p:nvSpPr>
        <p:spPr bwMode="auto">
          <a:xfrm>
            <a:off x="5838364" y="6408755"/>
            <a:ext cx="3133966"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46FF1AD2-43C6-4E0E-830E-1E18471EED6D}" type="slidenum">
              <a:rPr lang="en-US" altLang="en-US">
                <a:solidFill>
                  <a:srgbClr val="FFFFFF"/>
                </a:solidFill>
              </a:rPr>
              <a:pPr/>
              <a:t>35</a:t>
            </a:fld>
            <a:endParaRPr lang="en-US" altLang="en-US">
              <a:solidFill>
                <a:srgbClr val="FFFFFF"/>
              </a:solidFill>
            </a:endParaRPr>
          </a:p>
        </p:txBody>
      </p:sp>
      <p:sp>
        <p:nvSpPr>
          <p:cNvPr id="5125"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aste management</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5174" y="1931933"/>
            <a:ext cx="4402708" cy="379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400705" y="1615955"/>
            <a:ext cx="2790593" cy="43542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fontAlgn="base"/>
            <a:r>
              <a:rPr lang="en-US" sz="2000" b="1" dirty="0">
                <a:solidFill>
                  <a:srgbClr val="000000"/>
                </a:solidFill>
                <a:ea typeface="ＭＳ 明朝"/>
                <a:cs typeface="Times New Roman"/>
              </a:rPr>
              <a:t>Safety signage</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407718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12"/>
          <p:cNvSpPr>
            <a:spLocks noGrp="1"/>
          </p:cNvSpPr>
          <p:nvPr>
            <p:ph/>
          </p:nvPr>
        </p:nvSpPr>
        <p:spPr>
          <a:xfrm>
            <a:off x="2132021" y="1295400"/>
            <a:ext cx="7086601" cy="5715000"/>
          </a:xfrm>
        </p:spPr>
        <p:txBody>
          <a:bodyPr/>
          <a:lstStyle/>
          <a:p>
            <a:pPr lvl="1" algn="ctr">
              <a:buFont typeface="Wingdings" pitchFamily="2" charset="2"/>
              <a:buNone/>
            </a:pPr>
            <a:r>
              <a:rPr lang="en-US" altLang="en-US" sz="2400" b="1" dirty="0">
                <a:cs typeface="Arial" charset="0"/>
              </a:rPr>
              <a:t>Segregation</a:t>
            </a:r>
          </a:p>
          <a:p>
            <a:pPr lvl="1" algn="ctr">
              <a:buFont typeface="Wingdings" pitchFamily="2" charset="2"/>
              <a:buNone/>
            </a:pPr>
            <a:endParaRPr lang="en-US" altLang="en-US" sz="2400" b="1" dirty="0">
              <a:solidFill>
                <a:srgbClr val="FFC000"/>
              </a:solidFill>
              <a:cs typeface="Arial" charset="0"/>
            </a:endParaRPr>
          </a:p>
          <a:p>
            <a:pPr lvl="1" algn="ctr">
              <a:buFont typeface="Wingdings" pitchFamily="2" charset="2"/>
              <a:buNone/>
            </a:pPr>
            <a:r>
              <a:rPr lang="en-US" altLang="en-US" sz="2400" b="1" dirty="0">
                <a:cs typeface="Arial" charset="0"/>
              </a:rPr>
              <a:t>Packaging</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Labeling</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Handling and storage of waste products</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Transportation</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Disposal</a:t>
            </a:r>
          </a:p>
        </p:txBody>
      </p:sp>
      <p:sp>
        <p:nvSpPr>
          <p:cNvPr id="43011"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9A0761A-D56F-4CB6-9CEB-A0A72579B27B}" type="slidenum">
              <a:rPr lang="en-US" altLang="en-US">
                <a:solidFill>
                  <a:srgbClr val="FFFFFF"/>
                </a:solidFill>
              </a:rPr>
              <a:pPr/>
              <a:t>36</a:t>
            </a:fld>
            <a:endParaRPr lang="en-US" altLang="en-US">
              <a:solidFill>
                <a:srgbClr val="FFFFFF"/>
              </a:solidFill>
            </a:endParaRPr>
          </a:p>
        </p:txBody>
      </p:sp>
      <p:sp>
        <p:nvSpPr>
          <p:cNvPr id="43012" name="Rectangle 2"/>
          <p:cNvSpPr>
            <a:spLocks noChangeArrowheads="1"/>
          </p:cNvSpPr>
          <p:nvPr/>
        </p:nvSpPr>
        <p:spPr bwMode="auto">
          <a:xfrm>
            <a:off x="0" y="-1"/>
            <a:ext cx="12188825" cy="1069848"/>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r>
              <a:rPr lang="en-US" altLang="en-US" sz="2400" dirty="0">
                <a:solidFill>
                  <a:schemeClr val="bg1"/>
                </a:solidFill>
                <a:latin typeface="+mj-lt"/>
                <a:ea typeface="+mj-ea"/>
                <a:cs typeface="+mj-cs"/>
              </a:rPr>
              <a:t> Waste management process </a:t>
            </a:r>
          </a:p>
        </p:txBody>
      </p:sp>
      <p:grpSp>
        <p:nvGrpSpPr>
          <p:cNvPr id="2" name="Group 1"/>
          <p:cNvGrpSpPr/>
          <p:nvPr/>
        </p:nvGrpSpPr>
        <p:grpSpPr>
          <a:xfrm>
            <a:off x="5603473" y="1752600"/>
            <a:ext cx="440041" cy="3962400"/>
            <a:chOff x="5603464" y="1752600"/>
            <a:chExt cx="440042" cy="3962400"/>
          </a:xfrm>
        </p:grpSpPr>
        <p:sp>
          <p:nvSpPr>
            <p:cNvPr id="43013" name="Down Arrow 6"/>
            <p:cNvSpPr>
              <a:spLocks noChangeArrowheads="1"/>
            </p:cNvSpPr>
            <p:nvPr/>
          </p:nvSpPr>
          <p:spPr bwMode="auto">
            <a:xfrm>
              <a:off x="5603464" y="1752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srgbClr val="FFC000"/>
                </a:solidFill>
                <a:ea typeface="ＭＳ Ｐゴシック" pitchFamily="34" charset="-128"/>
              </a:endParaRPr>
            </a:p>
          </p:txBody>
        </p:sp>
        <p:sp>
          <p:nvSpPr>
            <p:cNvPr id="43014" name="Down Arrow 8"/>
            <p:cNvSpPr>
              <a:spLocks noChangeArrowheads="1"/>
            </p:cNvSpPr>
            <p:nvPr/>
          </p:nvSpPr>
          <p:spPr bwMode="auto">
            <a:xfrm>
              <a:off x="5603464" y="26070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5" name="Down Arrow 9"/>
            <p:cNvSpPr>
              <a:spLocks noChangeArrowheads="1"/>
            </p:cNvSpPr>
            <p:nvPr/>
          </p:nvSpPr>
          <p:spPr bwMode="auto">
            <a:xfrm>
              <a:off x="5603464" y="35214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6" name="Down Arrow 10"/>
            <p:cNvSpPr>
              <a:spLocks noChangeArrowheads="1"/>
            </p:cNvSpPr>
            <p:nvPr/>
          </p:nvSpPr>
          <p:spPr bwMode="auto">
            <a:xfrm>
              <a:off x="5603464" y="4419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7" name="Down Arrow 11"/>
            <p:cNvSpPr>
              <a:spLocks noChangeArrowheads="1"/>
            </p:cNvSpPr>
            <p:nvPr/>
          </p:nvSpPr>
          <p:spPr bwMode="auto">
            <a:xfrm>
              <a:off x="5637212" y="52578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gr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521529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Incineration of waste</a:t>
            </a:r>
          </a:p>
        </p:txBody>
      </p:sp>
      <p:sp>
        <p:nvSpPr>
          <p:cNvPr id="61442" name="Rectangle 3"/>
          <p:cNvSpPr>
            <a:spLocks noGrp="1" noChangeArrowheads="1"/>
          </p:cNvSpPr>
          <p:nvPr>
            <p:ph idx="1"/>
          </p:nvPr>
        </p:nvSpPr>
        <p:spPr>
          <a:xfrm>
            <a:off x="441320" y="1295400"/>
            <a:ext cx="7177092" cy="4711700"/>
          </a:xfrm>
        </p:spPr>
        <p:txBody>
          <a:bodyPr>
            <a:normAutofit/>
          </a:bodyPr>
          <a:lstStyle/>
          <a:p>
            <a:pPr marL="109537" indent="0" fontAlgn="auto">
              <a:spcAft>
                <a:spcPts val="0"/>
              </a:spcAft>
              <a:buClr>
                <a:schemeClr val="bg1"/>
              </a:buClr>
              <a:buNone/>
              <a:defRPr/>
            </a:pPr>
            <a:r>
              <a:rPr lang="en-US" sz="2200" dirty="0">
                <a:latin typeface="Calibri" pitchFamily="34" charset="0"/>
              </a:rPr>
              <a:t>Incineration is the complete burning of contaminated waste or bio-waste at high temperatures ( &gt;1000 ˚C) to destroy hazardous substances and kill micro-organisms</a:t>
            </a:r>
          </a:p>
          <a:p>
            <a:pPr marL="109537" indent="0" fontAlgn="auto">
              <a:spcAft>
                <a:spcPts val="0"/>
              </a:spcAft>
              <a:buClr>
                <a:schemeClr val="bg1"/>
              </a:buClr>
              <a:buNone/>
              <a:defRPr/>
            </a:pPr>
            <a:endParaRPr lang="en-US" sz="2200" dirty="0">
              <a:latin typeface="Calibri" pitchFamily="34" charset="0"/>
            </a:endParaRPr>
          </a:p>
          <a:p>
            <a:pPr marL="109537" indent="0" fontAlgn="auto">
              <a:spcAft>
                <a:spcPts val="0"/>
              </a:spcAft>
              <a:buClr>
                <a:schemeClr val="bg1"/>
              </a:buClr>
              <a:buNone/>
              <a:defRPr/>
            </a:pPr>
            <a:r>
              <a:rPr lang="en-US" sz="2200" dirty="0">
                <a:latin typeface="Calibri" pitchFamily="34" charset="0"/>
              </a:rPr>
              <a:t>Incineration:</a:t>
            </a:r>
          </a:p>
          <a:p>
            <a:pPr marL="658368" lvl="1" indent="-246888" fontAlgn="auto">
              <a:spcAft>
                <a:spcPts val="0"/>
              </a:spcAft>
              <a:buFont typeface="Arial" pitchFamily="34" charset="0"/>
              <a:buChar char="•"/>
              <a:defRPr/>
            </a:pPr>
            <a:r>
              <a:rPr lang="en-US" sz="2200" dirty="0">
                <a:solidFill>
                  <a:schemeClr val="tx1"/>
                </a:solidFill>
                <a:latin typeface="Calibri" pitchFamily="34" charset="0"/>
              </a:rPr>
              <a:t>Is effective against potential re-use</a:t>
            </a:r>
          </a:p>
          <a:p>
            <a:pPr marL="392113" lvl="1" indent="0" fontAlgn="auto">
              <a:spcAft>
                <a:spcPts val="0"/>
              </a:spcAft>
              <a:buNone/>
              <a:defRPr/>
            </a:pPr>
            <a:endParaRPr lang="en-US" sz="2200" dirty="0">
              <a:solidFill>
                <a:schemeClr val="tx1"/>
              </a:solidFill>
              <a:latin typeface="Calibri" pitchFamily="34" charset="0"/>
            </a:endParaRPr>
          </a:p>
          <a:p>
            <a:pPr marL="658368" lvl="1" indent="-246888" fontAlgn="auto">
              <a:spcAft>
                <a:spcPts val="0"/>
              </a:spcAft>
              <a:buFont typeface="Arial" pitchFamily="34" charset="0"/>
              <a:buChar char="•"/>
              <a:defRPr/>
            </a:pPr>
            <a:r>
              <a:rPr lang="en-US" sz="2200" dirty="0">
                <a:solidFill>
                  <a:schemeClr val="tx1"/>
                </a:solidFill>
                <a:latin typeface="Calibri" pitchFamily="34" charset="0"/>
              </a:rPr>
              <a:t>Protects environment</a:t>
            </a:r>
          </a:p>
          <a:p>
            <a:pPr marL="392113" lvl="1" indent="0" fontAlgn="auto">
              <a:spcAft>
                <a:spcPts val="0"/>
              </a:spcAft>
              <a:buNone/>
              <a:defRPr/>
            </a:pPr>
            <a:endParaRPr lang="en-US" sz="2200" dirty="0">
              <a:solidFill>
                <a:schemeClr val="tx1"/>
              </a:solidFill>
              <a:latin typeface="Calibri" pitchFamily="34" charset="0"/>
            </a:endParaRPr>
          </a:p>
          <a:p>
            <a:pPr marL="658368" lvl="1" indent="-246888" fontAlgn="auto">
              <a:spcAft>
                <a:spcPts val="0"/>
              </a:spcAft>
              <a:buFont typeface="Arial" pitchFamily="34" charset="0"/>
              <a:buChar char="•"/>
              <a:defRPr/>
            </a:pPr>
            <a:r>
              <a:rPr lang="en-US" sz="2200" dirty="0">
                <a:solidFill>
                  <a:schemeClr val="tx1"/>
                </a:solidFill>
                <a:latin typeface="Calibri" pitchFamily="34" charset="0"/>
              </a:rPr>
              <a:t>Must be supervised</a:t>
            </a:r>
          </a:p>
          <a:p>
            <a:pPr marL="109728" indent="0" fontAlgn="auto">
              <a:spcAft>
                <a:spcPts val="0"/>
              </a:spcAft>
              <a:buClr>
                <a:schemeClr val="accent3"/>
              </a:buClr>
              <a:buNone/>
              <a:defRPr/>
            </a:pPr>
            <a:endParaRPr lang="en-US" dirty="0"/>
          </a:p>
        </p:txBody>
      </p:sp>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9412" y="1630202"/>
            <a:ext cx="3674259" cy="2329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9412" y="4106819"/>
            <a:ext cx="3674259" cy="1941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22696" y="5270693"/>
            <a:ext cx="6514716" cy="901521"/>
          </a:xfrm>
          <a:prstGeom prst="rect">
            <a:avLst/>
          </a:prstGeom>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defTabSz="457200" fontAlgn="base"/>
            <a:r>
              <a:rPr lang="en-US" sz="2000" b="1" dirty="0">
                <a:solidFill>
                  <a:srgbClr val="C00000"/>
                </a:solidFill>
                <a:ea typeface="ＭＳ 明朝"/>
                <a:cs typeface="Times New Roman"/>
              </a:rPr>
              <a:t>Used POC/near POC cartridges are contaminated waste and should be incinerated</a:t>
            </a:r>
          </a:p>
        </p:txBody>
      </p:sp>
      <p:sp>
        <p:nvSpPr>
          <p:cNvPr id="2" name="TextBox 1"/>
          <p:cNvSpPr txBox="1"/>
          <p:nvPr/>
        </p:nvSpPr>
        <p:spPr>
          <a:xfrm>
            <a:off x="-34645" y="6553214"/>
            <a:ext cx="11539256" cy="37531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fontAlgn="base">
              <a:spcBef>
                <a:spcPct val="0"/>
              </a:spcBef>
              <a:spcAft>
                <a:spcPct val="0"/>
              </a:spcAft>
            </a:pPr>
            <a:r>
              <a:rPr lang="en-US" altLang="en-US" sz="1400" b="1" dirty="0">
                <a:solidFill>
                  <a:prstClr val="black"/>
                </a:solidFill>
              </a:rPr>
              <a:t>Note:</a:t>
            </a:r>
            <a:r>
              <a:rPr lang="en-US" altLang="en-US" sz="1400" dirty="0">
                <a:solidFill>
                  <a:prstClr val="black"/>
                </a:solidFill>
              </a:rPr>
              <a:t> Check and follow manufacturer's instruction for the disposal of cartridges to ensure it is not harmful to the environment </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336279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Reminders</a:t>
            </a:r>
            <a:endParaRPr lang="en-GB" altLang="en-US" sz="2400" dirty="0">
              <a:solidFill>
                <a:schemeClr val="bg1"/>
              </a:solidFill>
              <a:ea typeface="+mj-ea"/>
              <a:cs typeface="+mj-cs"/>
            </a:endParaRPr>
          </a:p>
        </p:txBody>
      </p:sp>
      <p:sp>
        <p:nvSpPr>
          <p:cNvPr id="23554" name="Rectangle 3"/>
          <p:cNvSpPr>
            <a:spLocks noGrp="1" noChangeArrowheads="1"/>
          </p:cNvSpPr>
          <p:nvPr>
            <p:ph idx="1"/>
          </p:nvPr>
        </p:nvSpPr>
        <p:spPr>
          <a:xfrm>
            <a:off x="303213" y="1447800"/>
            <a:ext cx="6127758" cy="3048000"/>
          </a:xfrm>
        </p:spPr>
        <p:txBody>
          <a:bodyPr>
            <a:normAutofit/>
          </a:bodyPr>
          <a:lstStyle/>
          <a:p>
            <a:pPr marL="365760" indent="-256032" fontAlgn="auto">
              <a:lnSpc>
                <a:spcPct val="80000"/>
              </a:lnSpc>
              <a:spcAft>
                <a:spcPts val="0"/>
              </a:spcAft>
              <a:buClr>
                <a:schemeClr val="accent3"/>
              </a:buClr>
              <a:buFont typeface="Wingdings" pitchFamily="2" charset="2"/>
              <a:buNone/>
              <a:defRPr/>
            </a:pPr>
            <a:r>
              <a:rPr lang="en-US" sz="2400" dirty="0">
                <a:latin typeface="Calibri" pitchFamily="34" charset="0"/>
              </a:rPr>
              <a:t>What can cause injury --- </a:t>
            </a:r>
            <a:r>
              <a:rPr lang="en-US" sz="2400" dirty="0">
                <a:solidFill>
                  <a:srgbClr val="C00000"/>
                </a:solidFill>
                <a:latin typeface="Calibri" pitchFamily="34" charset="0"/>
              </a:rPr>
              <a:t>e.g. needle prick?</a:t>
            </a:r>
          </a:p>
          <a:p>
            <a:pPr marL="365760" indent="-256032" fontAlgn="auto">
              <a:lnSpc>
                <a:spcPct val="80000"/>
              </a:lnSpc>
              <a:spcAft>
                <a:spcPts val="0"/>
              </a:spcAft>
              <a:buClr>
                <a:schemeClr val="accent3"/>
              </a:buClr>
              <a:buFont typeface="Wingdings" pitchFamily="2" charset="2"/>
              <a:buNone/>
              <a:defRPr/>
            </a:pPr>
            <a:endParaRPr lang="en-US" sz="2400" dirty="0">
              <a:latin typeface="Calibri" pitchFamily="34" charset="0"/>
            </a:endParaRPr>
          </a:p>
          <a:p>
            <a:pPr marL="452628" fontAlgn="auto">
              <a:lnSpc>
                <a:spcPct val="80000"/>
              </a:lnSpc>
              <a:spcAft>
                <a:spcPts val="0"/>
              </a:spcAft>
              <a:defRPr/>
            </a:pPr>
            <a:r>
              <a:rPr lang="en-US" sz="2000" dirty="0">
                <a:latin typeface="Calibri" pitchFamily="34" charset="0"/>
              </a:rPr>
              <a:t>Lack of concentration</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Inexperience</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Lack of concern for others</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Improper disposal of sharps and waste</a:t>
            </a:r>
            <a:endParaRPr lang="en-GB" sz="2000" dirty="0">
              <a:latin typeface="Calibri" pitchFamily="34" charset="0"/>
            </a:endParaRPr>
          </a:p>
        </p:txBody>
      </p:sp>
      <p:graphicFrame>
        <p:nvGraphicFramePr>
          <p:cNvPr id="4098" name="Object 6"/>
          <p:cNvGraphicFramePr>
            <a:graphicFrameLocks noChangeAspect="1"/>
          </p:cNvGraphicFramePr>
          <p:nvPr>
            <p:extLst>
              <p:ext uri="{D42A27DB-BD31-4B8C-83A1-F6EECF244321}">
                <p14:modId xmlns:p14="http://schemas.microsoft.com/office/powerpoint/2010/main" val="4273835243"/>
              </p:ext>
            </p:extLst>
          </p:nvPr>
        </p:nvGraphicFramePr>
        <p:xfrm>
          <a:off x="6955724" y="3350298"/>
          <a:ext cx="4974987" cy="3065463"/>
        </p:xfrm>
        <a:graphic>
          <a:graphicData uri="http://schemas.openxmlformats.org/presentationml/2006/ole">
            <mc:AlternateContent xmlns:mc="http://schemas.openxmlformats.org/markup-compatibility/2006">
              <mc:Choice xmlns:v="urn:schemas-microsoft-com:vml" Requires="v">
                <p:oleObj spid="_x0000_s10262" name="Clip" r:id="rId4" imgW="4733333" imgH="3428571" progId="MS_ClipArt_Gallery.2">
                  <p:embed/>
                </p:oleObj>
              </mc:Choice>
              <mc:Fallback>
                <p:oleObj name="Clip" r:id="rId4" imgW="4733333" imgH="3428571" progId="MS_ClipArt_Gallery.2">
                  <p:embed/>
                  <p:pic>
                    <p:nvPicPr>
                      <p:cNvPr id="0" name=""/>
                      <p:cNvPicPr>
                        <a:picLocks noChangeAspect="1" noChangeArrowheads="1"/>
                      </p:cNvPicPr>
                      <p:nvPr/>
                    </p:nvPicPr>
                    <p:blipFill>
                      <a:blip r:embed="rId5">
                        <a:lum bright="6000"/>
                        <a:extLst>
                          <a:ext uri="{28A0092B-C50C-407E-A947-70E740481C1C}">
                            <a14:useLocalDpi xmlns:a14="http://schemas.microsoft.com/office/drawing/2010/main" val="0"/>
                          </a:ext>
                        </a:extLst>
                      </a:blip>
                      <a:srcRect l="1738" t="2667" b="6668"/>
                      <a:stretch>
                        <a:fillRect/>
                      </a:stretch>
                    </p:blipFill>
                    <p:spPr bwMode="auto">
                      <a:xfrm>
                        <a:off x="6955724" y="3350298"/>
                        <a:ext cx="4974987" cy="3065463"/>
                      </a:xfrm>
                      <a:prstGeom prst="rect">
                        <a:avLst/>
                      </a:prstGeom>
                      <a:noFill/>
                      <a:ln>
                        <a:noFill/>
                      </a:ln>
                      <a:effectLst>
                        <a:outerShdw dist="107763"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01"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55724" y="1371600"/>
            <a:ext cx="4873413"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9852634" y="4191000"/>
            <a:ext cx="1726750" cy="1752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2" name="Rectangle 1"/>
          <p:cNvSpPr/>
          <p:nvPr/>
        </p:nvSpPr>
        <p:spPr>
          <a:xfrm>
            <a:off x="336557" y="5067314"/>
            <a:ext cx="6094413" cy="1015663"/>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marL="109537" algn="ctr" defTabSz="457200">
              <a:spcBef>
                <a:spcPct val="0"/>
              </a:spcBef>
              <a:buClr>
                <a:prstClr val="white"/>
              </a:buClr>
              <a:buFont typeface="Wingdings 3" pitchFamily="18" charset="2"/>
              <a:buNone/>
              <a:defRPr/>
            </a:pPr>
            <a:r>
              <a:rPr lang="en-US" sz="2000" u="sng" dirty="0">
                <a:solidFill>
                  <a:srgbClr val="C00000"/>
                </a:solidFill>
                <a:ea typeface="ＭＳ Ｐゴシック" pitchFamily="34" charset="-128"/>
              </a:rPr>
              <a:t>Adhere to safety precautions </a:t>
            </a:r>
            <a:r>
              <a:rPr lang="en-US" sz="2000" dirty="0">
                <a:solidFill>
                  <a:srgbClr val="C00000"/>
                </a:solidFill>
                <a:ea typeface="ＭＳ Ｐゴシック" pitchFamily="34" charset="-128"/>
              </a:rPr>
              <a:t>to </a:t>
            </a:r>
            <a:r>
              <a:rPr lang="en-US" sz="2000" b="1" dirty="0">
                <a:solidFill>
                  <a:srgbClr val="C00000"/>
                </a:solidFill>
                <a:ea typeface="ＭＳ Ｐゴシック" pitchFamily="34" charset="-128"/>
              </a:rPr>
              <a:t>protect you</a:t>
            </a:r>
            <a:r>
              <a:rPr lang="en-US" sz="2000" dirty="0">
                <a:solidFill>
                  <a:srgbClr val="C00000"/>
                </a:solidFill>
                <a:ea typeface="ＭＳ Ｐゴシック" pitchFamily="34" charset="-128"/>
              </a:rPr>
              <a:t>, </a:t>
            </a:r>
            <a:r>
              <a:rPr lang="en-US" sz="2000" b="1" dirty="0">
                <a:solidFill>
                  <a:srgbClr val="C00000"/>
                </a:solidFill>
                <a:ea typeface="ＭＳ Ｐゴシック" pitchFamily="34" charset="-128"/>
              </a:rPr>
              <a:t>your colleagues, family, the client and the environment </a:t>
            </a:r>
            <a:r>
              <a:rPr lang="en-US" sz="2000" dirty="0">
                <a:solidFill>
                  <a:srgbClr val="C00000"/>
                </a:solidFill>
                <a:ea typeface="ＭＳ Ｐゴシック" pitchFamily="34" charset="-128"/>
              </a:rPr>
              <a:t>against infection</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625764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0822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9</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9</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526453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74153" y="237227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3114372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pPr/>
              <a:t>40</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 Data/record management </a:t>
            </a:r>
          </a:p>
        </p:txBody>
      </p:sp>
      <p:sp>
        <p:nvSpPr>
          <p:cNvPr id="8" name="Content Placeholder 1"/>
          <p:cNvSpPr>
            <a:spLocks noGrp="1"/>
          </p:cNvSpPr>
          <p:nvPr>
            <p:ph idx="4294967295"/>
          </p:nvPr>
        </p:nvSpPr>
        <p:spPr>
          <a:xfrm>
            <a:off x="555900" y="1752600"/>
            <a:ext cx="10969943" cy="3756118"/>
          </a:xfrm>
          <a:prstGeom prst="rect">
            <a:avLst/>
          </a:prstGeom>
        </p:spPr>
        <p:txBody>
          <a:bodyPr>
            <a:noAutofit/>
          </a:bodyPr>
          <a:lstStyle/>
          <a:p>
            <a:pPr marL="0" indent="0">
              <a:spcBef>
                <a:spcPct val="0"/>
              </a:spcBef>
              <a:buNone/>
            </a:pPr>
            <a:r>
              <a:rPr lang="en-US" sz="2400" b="1" dirty="0">
                <a:solidFill>
                  <a:srgbClr val="008000"/>
                </a:solidFill>
                <a:ea typeface="Times New Roman" pitchFamily="18" charset="0"/>
                <a:cs typeface="Arial" pitchFamily="34" charset="0"/>
              </a:rPr>
              <a:t>Record Management</a:t>
            </a:r>
            <a:r>
              <a:rPr lang="en-US" sz="2400" b="1" dirty="0">
                <a:solidFill>
                  <a:prstClr val="black"/>
                </a:solidFill>
                <a:ea typeface="Times New Roman" pitchFamily="18" charset="0"/>
                <a:cs typeface="Arial" pitchFamily="34" charset="0"/>
              </a:rPr>
              <a:t> </a:t>
            </a:r>
            <a:r>
              <a:rPr lang="en-US" sz="2400" dirty="0">
                <a:solidFill>
                  <a:prstClr val="black"/>
                </a:solidFill>
                <a:ea typeface="Times New Roman" pitchFamily="18" charset="0"/>
                <a:cs typeface="Arial" pitchFamily="34" charset="0"/>
              </a:rPr>
              <a:t>is the mechanism that ensures information is captured correctly, kept confidential, and is available and accessible when needed. </a:t>
            </a:r>
            <a:endParaRPr lang="en-US" sz="2400" dirty="0">
              <a:solidFill>
                <a:prstClr val="black"/>
              </a:solidFill>
              <a:ea typeface="ＭＳ Ｐゴシック" pitchFamily="34" charset="-128"/>
              <a:cs typeface="Arial" pitchFamily="34" charset="0"/>
            </a:endParaRPr>
          </a:p>
          <a:p>
            <a:pPr marL="0" indent="0">
              <a:buNone/>
            </a:pPr>
            <a:endParaRPr lang="en-US" sz="2400" b="1" dirty="0">
              <a:latin typeface="Calibri" pitchFamily="34" charset="0"/>
            </a:endParaRPr>
          </a:p>
          <a:p>
            <a:pPr marL="0" indent="0">
              <a:buNone/>
            </a:pPr>
            <a:r>
              <a:rPr lang="en-US" sz="2400" b="1" dirty="0">
                <a:latin typeface="Calibri" pitchFamily="34" charset="0"/>
              </a:rPr>
              <a:t>If using paper based records…</a:t>
            </a:r>
          </a:p>
          <a:p>
            <a:pPr marL="393700" lvl="1" indent="-393700">
              <a:buFont typeface="Wingdings" pitchFamily="2" charset="2"/>
              <a:buChar char="Ø"/>
            </a:pPr>
            <a:r>
              <a:rPr lang="en-US" sz="2400" dirty="0">
                <a:latin typeface="Calibri" pitchFamily="34" charset="0"/>
                <a:cs typeface="Calibri" pitchFamily="34" charset="0"/>
              </a:rPr>
              <a:t>The register and logs used in the lab or clinic that record tests that are performed, and can be used to trace patients records when necessary </a:t>
            </a:r>
          </a:p>
          <a:p>
            <a:pPr>
              <a:buNone/>
            </a:pPr>
            <a:endParaRPr lang="en-US" sz="2400" dirty="0"/>
          </a:p>
          <a:p>
            <a:pPr marL="0" indent="0">
              <a:buNone/>
            </a:pPr>
            <a:r>
              <a:rPr lang="en-US" sz="2400" b="1" dirty="0">
                <a:latin typeface="Calibri" pitchFamily="34" charset="0"/>
              </a:rPr>
              <a:t>If using electronic records...</a:t>
            </a:r>
            <a:endParaRPr lang="en-US" sz="2400" dirty="0">
              <a:latin typeface="Calibri" pitchFamily="34" charset="0"/>
            </a:endParaRPr>
          </a:p>
          <a:p>
            <a:pPr>
              <a:buFont typeface="Wingdings" pitchFamily="2" charset="2"/>
              <a:buChar char="Ø"/>
            </a:pPr>
            <a:r>
              <a:rPr lang="en-US" sz="2400" dirty="0">
                <a:latin typeface="Calibri" pitchFamily="34" charset="0"/>
                <a:cs typeface="Calibri" pitchFamily="34" charset="0"/>
              </a:rPr>
              <a:t>Testing data should be routinely transmitted to a central database for back up </a:t>
            </a:r>
          </a:p>
          <a:p>
            <a:pPr>
              <a:buFont typeface="Wingdings" pitchFamily="2" charset="2"/>
              <a:buChar char="Ø"/>
            </a:pPr>
            <a:r>
              <a:rPr lang="en-US" sz="2400" dirty="0">
                <a:latin typeface="Calibri" pitchFamily="34" charset="0"/>
                <a:cs typeface="Calibri" pitchFamily="34" charset="0"/>
              </a:rPr>
              <a:t>This system simplifies reporting, monitoring and evaluation </a:t>
            </a:r>
          </a:p>
          <a:p>
            <a:pPr marL="0" indent="0">
              <a:buNone/>
            </a:pPr>
            <a:endParaRPr lang="en-US" sz="2400" dirty="0">
              <a:latin typeface="Calibri" pitchFamily="34" charset="0"/>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Tree>
    <p:extLst>
      <p:ext uri="{BB962C8B-B14F-4D97-AF65-F5344CB8AC3E}">
        <p14:creationId xmlns:p14="http://schemas.microsoft.com/office/powerpoint/2010/main" val="3306696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pPr/>
              <a:t>41</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Connectivity provides visibility to monitor and manage the performance of POC devices, </a:t>
            </a:r>
            <a:br>
              <a:rPr lang="en-US" sz="2400" dirty="0">
                <a:ea typeface="+mj-ea"/>
                <a:cs typeface="+mj-cs"/>
              </a:rPr>
            </a:br>
            <a:r>
              <a:rPr lang="en-US" sz="2400" dirty="0">
                <a:ea typeface="+mj-ea"/>
                <a:cs typeface="+mj-cs"/>
              </a:rPr>
              <a:t>and speeds result transmission from centralized testing sites back to the facility </a:t>
            </a:r>
          </a:p>
        </p:txBody>
      </p:sp>
      <p:sp>
        <p:nvSpPr>
          <p:cNvPr id="27656" name="TextBox 1"/>
          <p:cNvSpPr txBox="1">
            <a:spLocks noChangeArrowheads="1"/>
          </p:cNvSpPr>
          <p:nvPr/>
        </p:nvSpPr>
        <p:spPr bwMode="auto">
          <a:xfrm>
            <a:off x="7211725" y="2747976"/>
            <a:ext cx="184652" cy="369291"/>
          </a:xfrm>
          <a:prstGeom prst="rect">
            <a:avLst/>
          </a:prstGeom>
          <a:noFill/>
          <a:ln w="9525">
            <a:noFill/>
            <a:miter lim="800000"/>
            <a:headEnd/>
            <a:tailEnd/>
          </a:ln>
        </p:spPr>
        <p:txBody>
          <a:bodyPr wrap="none" lIns="91401" tIns="45700" rIns="91401" bIns="45700">
            <a:spAutoFit/>
          </a:bodyPr>
          <a:lstStyle/>
          <a:p>
            <a:pPr defTabSz="457200" fontAlgn="base">
              <a:spcBef>
                <a:spcPct val="0"/>
              </a:spcBef>
              <a:spcAft>
                <a:spcPct val="0"/>
              </a:spcAft>
            </a:pPr>
            <a:endParaRPr lang="en-US" dirty="0">
              <a:solidFill>
                <a:prstClr val="black"/>
              </a:solidFill>
              <a:ea typeface="ＭＳ Ｐゴシック" pitchFamily="34" charset="-128"/>
            </a:endParaRP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1" y="1474773"/>
            <a:ext cx="11076805" cy="4374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4" name="TextBox 3"/>
          <p:cNvSpPr txBox="1"/>
          <p:nvPr/>
        </p:nvSpPr>
        <p:spPr>
          <a:xfrm>
            <a:off x="609441" y="1295400"/>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a:spcBef>
                <a:spcPts val="0"/>
              </a:spcBef>
              <a:spcAft>
                <a:spcPts val="0"/>
              </a:spcAft>
            </a:pPr>
            <a:r>
              <a:rPr lang="en-US" sz="1400" b="1" dirty="0">
                <a:solidFill>
                  <a:srgbClr val="000000"/>
                </a:solidFill>
                <a:ea typeface="ＭＳ 明朝"/>
                <a:cs typeface="Times New Roman"/>
              </a:rPr>
              <a:t>Data is sent from the  POC device to a central database</a:t>
            </a:r>
          </a:p>
        </p:txBody>
      </p:sp>
      <p:sp>
        <p:nvSpPr>
          <p:cNvPr id="11" name="TextBox 10"/>
          <p:cNvSpPr txBox="1"/>
          <p:nvPr/>
        </p:nvSpPr>
        <p:spPr>
          <a:xfrm>
            <a:off x="797760" y="5849012"/>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a:spcBef>
                <a:spcPts val="0"/>
              </a:spcBef>
              <a:spcAft>
                <a:spcPts val="0"/>
              </a:spcAft>
            </a:pPr>
            <a:r>
              <a:rPr lang="en-US" sz="1400" b="1" dirty="0">
                <a:solidFill>
                  <a:srgbClr val="000000"/>
                </a:solidFill>
                <a:ea typeface="ＭＳ 明朝"/>
                <a:cs typeface="Times New Roman"/>
              </a:rPr>
              <a:t>Test results are sent from a central testing point to a facility via SMS printer</a:t>
            </a:r>
          </a:p>
        </p:txBody>
      </p:sp>
    </p:spTree>
    <p:extLst>
      <p:ext uri="{BB962C8B-B14F-4D97-AF65-F5344CB8AC3E}">
        <p14:creationId xmlns:p14="http://schemas.microsoft.com/office/powerpoint/2010/main" val="2639480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9204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655935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430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Supply chain management</a:t>
            </a:r>
          </a:p>
        </p:txBody>
      </p:sp>
      <p:sp>
        <p:nvSpPr>
          <p:cNvPr id="11" name="TextBox 10"/>
          <p:cNvSpPr txBox="1"/>
          <p:nvPr/>
        </p:nvSpPr>
        <p:spPr>
          <a:xfrm>
            <a:off x="379412" y="1524000"/>
            <a:ext cx="11506200" cy="46482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2200" b="1" dirty="0">
                <a:solidFill>
                  <a:srgbClr val="000000"/>
                </a:solidFill>
                <a:ea typeface="ＭＳ 明朝"/>
                <a:cs typeface="Times New Roman"/>
              </a:rPr>
              <a:t>Inventory management for POC testing is critical to ensure uninterrupted testing services</a:t>
            </a:r>
          </a:p>
          <a:p>
            <a:pPr marL="0" marR="0">
              <a:spcBef>
                <a:spcPts val="0"/>
              </a:spcBef>
              <a:spcAft>
                <a:spcPts val="0"/>
              </a:spcAft>
            </a:pPr>
            <a:endParaRPr lang="en-US" sz="2200" dirty="0">
              <a:solidFill>
                <a:srgbClr val="000000"/>
              </a:solidFill>
              <a:ea typeface="ＭＳ 明朝"/>
              <a:cs typeface="Times New Roman"/>
            </a:endParaRPr>
          </a:p>
          <a:p>
            <a:pPr marL="0" marR="0">
              <a:spcBef>
                <a:spcPts val="0"/>
              </a:spcBef>
              <a:spcAft>
                <a:spcPts val="0"/>
              </a:spcAft>
            </a:pPr>
            <a:r>
              <a:rPr lang="en-US" sz="2200" dirty="0">
                <a:solidFill>
                  <a:srgbClr val="000000"/>
                </a:solidFill>
                <a:ea typeface="ＭＳ 明朝"/>
                <a:cs typeface="Times New Roman"/>
              </a:rPr>
              <a:t>For POC testing, inventory needs to be tracked for:</a:t>
            </a:r>
          </a:p>
          <a:p>
            <a:pPr marL="457200" marR="0" indent="-220663">
              <a:spcBef>
                <a:spcPts val="0"/>
              </a:spcBef>
              <a:spcAft>
                <a:spcPts val="0"/>
              </a:spcAft>
              <a:buFont typeface="Arial" panose="020B0604020202020204" pitchFamily="34" charset="0"/>
              <a:buChar char="•"/>
            </a:pPr>
            <a:r>
              <a:rPr lang="en-US" sz="2200" dirty="0">
                <a:solidFill>
                  <a:srgbClr val="000000"/>
                </a:solidFill>
                <a:ea typeface="ＭＳ 明朝"/>
                <a:cs typeface="Times New Roman"/>
              </a:rPr>
              <a:t>Reagent cartridges</a:t>
            </a:r>
          </a:p>
          <a:p>
            <a:pPr marL="457200" marR="0" indent="-220663">
              <a:spcBef>
                <a:spcPts val="0"/>
              </a:spcBef>
              <a:spcAft>
                <a:spcPts val="0"/>
              </a:spcAft>
              <a:buFont typeface="Arial" panose="020B0604020202020204" pitchFamily="34" charset="0"/>
              <a:buChar char="•"/>
            </a:pPr>
            <a:r>
              <a:rPr lang="en-US" sz="2200" dirty="0">
                <a:solidFill>
                  <a:srgbClr val="000000"/>
                </a:solidFill>
                <a:ea typeface="ＭＳ 明朝"/>
                <a:cs typeface="Times New Roman"/>
              </a:rPr>
              <a:t>Sample collection materials </a:t>
            </a:r>
          </a:p>
          <a:p>
            <a:pPr marL="457200" marR="0" indent="-220663">
              <a:spcBef>
                <a:spcPts val="0"/>
              </a:spcBef>
              <a:spcAft>
                <a:spcPts val="0"/>
              </a:spcAft>
              <a:buFont typeface="Arial" panose="020B0604020202020204" pitchFamily="34" charset="0"/>
              <a:buChar char="•"/>
            </a:pPr>
            <a:endParaRPr lang="en-US" sz="2200" dirty="0">
              <a:solidFill>
                <a:srgbClr val="000000"/>
              </a:solidFill>
              <a:ea typeface="ＭＳ 明朝"/>
              <a:cs typeface="Times New Roman"/>
            </a:endParaRPr>
          </a:p>
          <a:p>
            <a:pPr marR="0">
              <a:spcBef>
                <a:spcPts val="0"/>
              </a:spcBef>
              <a:spcAft>
                <a:spcPts val="0"/>
              </a:spcAft>
            </a:pPr>
            <a:r>
              <a:rPr lang="en-US" sz="2200" dirty="0">
                <a:solidFill>
                  <a:srgbClr val="000000"/>
                </a:solidFill>
                <a:ea typeface="ＭＳ 明朝"/>
                <a:cs typeface="Times New Roman"/>
              </a:rPr>
              <a:t>Supplies for POC commodities should be integrated into the facility’s existing inventory management system</a:t>
            </a:r>
          </a:p>
          <a:p>
            <a:pPr marR="0">
              <a:spcBef>
                <a:spcPts val="0"/>
              </a:spcBef>
              <a:spcAft>
                <a:spcPts val="0"/>
              </a:spcAft>
            </a:pPr>
            <a:endParaRPr lang="en-US" sz="2400" b="1" dirty="0">
              <a:solidFill>
                <a:srgbClr val="000000"/>
              </a:solidFill>
              <a:ea typeface="ＭＳ 明朝"/>
              <a:cs typeface="Times New Roman"/>
            </a:endParaRPr>
          </a:p>
          <a:p>
            <a:pPr marR="0">
              <a:spcBef>
                <a:spcPts val="0"/>
              </a:spcBef>
              <a:spcAft>
                <a:spcPts val="0"/>
              </a:spcAft>
            </a:pPr>
            <a:r>
              <a:rPr lang="en-US" sz="2400" i="1" dirty="0">
                <a:solidFill>
                  <a:srgbClr val="FF0000"/>
                </a:solidFill>
                <a:ea typeface="ＭＳ 明朝"/>
                <a:cs typeface="Times New Roman"/>
              </a:rPr>
              <a:t>[Before the start of the training, optional to insert language about the local inventory management system and how POC commodities will be incorporated in the local supply chain]</a:t>
            </a:r>
          </a:p>
          <a:p>
            <a:pPr marL="285750" marR="0" indent="-285750">
              <a:spcBef>
                <a:spcPts val="0"/>
              </a:spcBef>
              <a:spcAft>
                <a:spcPts val="0"/>
              </a:spcAft>
              <a:buFont typeface="Arial" panose="020B0604020202020204" pitchFamily="34" charset="0"/>
              <a:buChar char="•"/>
            </a:pPr>
            <a:endParaRPr lang="en-US" sz="2400" b="1" dirty="0">
              <a:solidFill>
                <a:srgbClr val="000000"/>
              </a:solidFill>
              <a:ea typeface="ＭＳ 明朝"/>
              <a:cs typeface="Times New Roman"/>
            </a:endParaRPr>
          </a:p>
          <a:p>
            <a:pPr marR="0">
              <a:spcBef>
                <a:spcPts val="0"/>
              </a:spcBef>
              <a:spcAft>
                <a:spcPts val="0"/>
              </a:spcAft>
            </a:pPr>
            <a:endParaRPr lang="en-US" sz="2400" b="1" dirty="0">
              <a:solidFill>
                <a:srgbClr val="000000"/>
              </a:solidFill>
              <a:ea typeface="ＭＳ 明朝"/>
              <a:cs typeface="Times New Roman"/>
            </a:endParaRPr>
          </a:p>
        </p:txBody>
      </p:sp>
    </p:spTree>
    <p:extLst>
      <p:ext uri="{BB962C8B-B14F-4D97-AF65-F5344CB8AC3E}">
        <p14:creationId xmlns:p14="http://schemas.microsoft.com/office/powerpoint/2010/main" val="2340048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13288"/>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Error and service reports </a:t>
            </a:r>
          </a:p>
        </p:txBody>
      </p:sp>
      <p:sp>
        <p:nvSpPr>
          <p:cNvPr id="9" name="Rectangle 8"/>
          <p:cNvSpPr/>
          <p:nvPr/>
        </p:nvSpPr>
        <p:spPr>
          <a:xfrm>
            <a:off x="531811" y="1619457"/>
            <a:ext cx="10843851" cy="4678204"/>
          </a:xfrm>
          <a:prstGeom prst="rect">
            <a:avLst/>
          </a:prstGeom>
        </p:spPr>
        <p:txBody>
          <a:bodyPr wrap="square">
            <a:spAutoFit/>
          </a:bodyPr>
          <a:lstStyle/>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you encounter an error, refer to the device user manual for guidance</a:t>
            </a:r>
          </a:p>
          <a:p>
            <a:pPr marL="285750" indent="-28575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you encounter three (3) errors consecutively, stop and report (and arrange for service data export) to national support team:</a:t>
            </a:r>
          </a:p>
          <a:p>
            <a:pPr lvl="2" defTabSz="457200" fontAlgn="base">
              <a:spcBef>
                <a:spcPct val="0"/>
              </a:spcBef>
              <a:spcAft>
                <a:spcPct val="0"/>
              </a:spcAft>
            </a:pPr>
            <a:r>
              <a:rPr lang="en-US" sz="2000" dirty="0">
                <a:solidFill>
                  <a:prstClr val="black"/>
                </a:solidFill>
                <a:ea typeface="ＭＳ Ｐゴシック" pitchFamily="34" charset="-128"/>
              </a:rPr>
              <a:t> </a:t>
            </a: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MOH-Laboratory contact No. </a:t>
            </a:r>
            <a:r>
              <a:rPr lang="en-US" sz="2000" dirty="0">
                <a:solidFill>
                  <a:srgbClr val="FF0000"/>
                </a:solidFill>
                <a:ea typeface="ＭＳ Ｐゴシック" pitchFamily="34" charset="-128"/>
              </a:rPr>
              <a:t>[Before training, fill in telephone number]</a:t>
            </a:r>
          </a:p>
          <a:p>
            <a:pPr marL="1257300" lvl="2" indent="-34290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Partner Support contact No. </a:t>
            </a:r>
            <a:r>
              <a:rPr lang="en-US" sz="2000" dirty="0">
                <a:solidFill>
                  <a:srgbClr val="FF0000"/>
                </a:solidFill>
                <a:ea typeface="ＭＳ Ｐゴシック" pitchFamily="34" charset="-128"/>
              </a:rPr>
              <a:t>[Before training, fill in telephone number]</a:t>
            </a: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Distributor’s contact No. </a:t>
            </a:r>
            <a:r>
              <a:rPr lang="en-US" sz="2000" dirty="0">
                <a:solidFill>
                  <a:srgbClr val="FF0000"/>
                </a:solidFill>
                <a:ea typeface="ＭＳ Ｐゴシック" pitchFamily="34" charset="-128"/>
              </a:rPr>
              <a:t>[Before training, fill in telephone number]</a:t>
            </a: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the POC device is down, needs service or a swap-out device is required, contact the </a:t>
            </a:r>
            <a:br>
              <a:rPr lang="en-US" sz="2000" dirty="0">
                <a:solidFill>
                  <a:prstClr val="black"/>
                </a:solidFill>
                <a:ea typeface="ＭＳ Ｐゴシック" pitchFamily="34" charset="-128"/>
              </a:rPr>
            </a:br>
            <a:r>
              <a:rPr lang="en-US" sz="2000" dirty="0">
                <a:solidFill>
                  <a:prstClr val="black"/>
                </a:solidFill>
                <a:ea typeface="ＭＳ Ｐゴシック" pitchFamily="34" charset="-128"/>
              </a:rPr>
              <a:t>national support team for advise and next steps  </a:t>
            </a:r>
          </a:p>
          <a:p>
            <a:pPr lvl="2" defTabSz="457200" fontAlgn="base">
              <a:spcBef>
                <a:spcPct val="0"/>
              </a:spcBef>
              <a:spcAft>
                <a:spcPct val="0"/>
              </a:spcAft>
            </a:pPr>
            <a:endParaRPr lang="en-US" sz="2000" dirty="0">
              <a:solidFill>
                <a:prstClr val="black"/>
              </a:solidFill>
              <a:ea typeface="ＭＳ Ｐゴシック" pitchFamily="34" charset="-128"/>
            </a:endParaRPr>
          </a:p>
          <a:p>
            <a:pPr lvl="2" defTabSz="457200" fontAlgn="base">
              <a:spcBef>
                <a:spcPct val="0"/>
              </a:spcBef>
              <a:spcAft>
                <a:spcPct val="0"/>
              </a:spcAft>
            </a:pPr>
            <a:endParaRPr lang="en-US" dirty="0">
              <a:solidFill>
                <a:prstClr val="black"/>
              </a:solidFill>
              <a:ea typeface="ＭＳ Ｐゴシック" pitchFamily="34" charset="-128"/>
            </a:endParaRPr>
          </a:p>
        </p:txBody>
      </p:sp>
      <p:pic>
        <p:nvPicPr>
          <p:cNvPr id="26627" name="Picture 3" descr="C:\Users\Maria Rosezoil\AppData\Local\Microsoft\Windows\Temporary Internet Files\Content.IE5\8DX1MF1Y\NetworkEngineerBaby[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8212" y="3897004"/>
            <a:ext cx="2142067" cy="2808596"/>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9523412" y="2999096"/>
            <a:ext cx="2406100" cy="887104"/>
          </a:xfrm>
          <a:prstGeom prst="wedgeRoundRectCallout">
            <a:avLst>
              <a:gd name="adj1" fmla="val -12121"/>
              <a:gd name="adj2" fmla="val 73677"/>
              <a:gd name="adj3" fmla="val 16667"/>
            </a:avLst>
          </a:prstGeom>
          <a:noFill/>
          <a:ln w="3175"/>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C00000"/>
                </a:solidFill>
              </a:rPr>
              <a:t>Need Assistance?</a:t>
            </a:r>
          </a:p>
          <a:p>
            <a:pPr algn="ctr" defTabSz="457200" fontAlgn="base">
              <a:spcBef>
                <a:spcPct val="0"/>
              </a:spcBef>
              <a:spcAft>
                <a:spcPct val="0"/>
              </a:spcAft>
            </a:pPr>
            <a:r>
              <a:rPr lang="en-US" dirty="0">
                <a:solidFill>
                  <a:srgbClr val="C00000"/>
                </a:solidFill>
              </a:rPr>
              <a:t>Stop and Call!</a:t>
            </a:r>
          </a:p>
        </p:txBody>
      </p:sp>
    </p:spTree>
    <p:extLst>
      <p:ext uri="{BB962C8B-B14F-4D97-AF65-F5344CB8AC3E}">
        <p14:creationId xmlns:p14="http://schemas.microsoft.com/office/powerpoint/2010/main" val="1069732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7867" y="1675263"/>
            <a:ext cx="10969943" cy="4602707"/>
          </a:xfrm>
        </p:spPr>
        <p:txBody>
          <a:bodyPr>
            <a:normAutofit lnSpcReduction="10000"/>
          </a:bodyPr>
          <a:lstStyle/>
          <a:p>
            <a:r>
              <a:rPr lang="en-US" sz="2400" u="sng" dirty="0">
                <a:solidFill>
                  <a:srgbClr val="C00000"/>
                </a:solidFill>
                <a:latin typeface="+mj-lt"/>
              </a:rPr>
              <a:t>Quality Testing </a:t>
            </a:r>
            <a:r>
              <a:rPr lang="en-US" sz="2400" dirty="0">
                <a:latin typeface="+mj-lt"/>
              </a:rPr>
              <a:t>is the backbone of results reliability , this prevent misdiagnosis that affect the quality of life of the clients/patients</a:t>
            </a:r>
          </a:p>
          <a:p>
            <a:pPr marL="0" indent="0">
              <a:buNone/>
            </a:pPr>
            <a:endParaRPr lang="en-US" sz="2400" u="sng" dirty="0">
              <a:solidFill>
                <a:srgbClr val="C00000"/>
              </a:solidFill>
              <a:latin typeface="+mj-lt"/>
            </a:endParaRPr>
          </a:p>
          <a:p>
            <a:r>
              <a:rPr lang="en-US" sz="2400" u="sng" dirty="0">
                <a:solidFill>
                  <a:srgbClr val="C00000"/>
                </a:solidFill>
                <a:latin typeface="+mj-lt"/>
              </a:rPr>
              <a:t>Adherence to safety precautions </a:t>
            </a:r>
            <a:r>
              <a:rPr lang="en-US" sz="2400" dirty="0">
                <a:latin typeface="+mj-lt"/>
              </a:rPr>
              <a:t>will protect you, your colleagues, family, the client and the environment against infection</a:t>
            </a:r>
          </a:p>
          <a:p>
            <a:pPr marL="0" indent="0">
              <a:buNone/>
            </a:pPr>
            <a:endParaRPr lang="en-US" sz="2400" dirty="0">
              <a:latin typeface="+mj-lt"/>
            </a:endParaRPr>
          </a:p>
          <a:p>
            <a:r>
              <a:rPr lang="en-US" sz="2400" u="sng" dirty="0">
                <a:solidFill>
                  <a:srgbClr val="C00000"/>
                </a:solidFill>
                <a:latin typeface="+mj-lt"/>
              </a:rPr>
              <a:t>Connectivity</a:t>
            </a:r>
            <a:r>
              <a:rPr lang="en-US" sz="2400" dirty="0">
                <a:latin typeface="+mj-lt"/>
              </a:rPr>
              <a:t> allows data to be transmitted from POC devices in the field to a central point, where the data can be monitored centrally, simplify data aggregation and allow for timely reporting </a:t>
            </a:r>
          </a:p>
          <a:p>
            <a:pPr marL="0" indent="0">
              <a:buNone/>
            </a:pPr>
            <a:endParaRPr lang="en-US" sz="2400" dirty="0">
              <a:latin typeface="+mj-lt"/>
            </a:endParaRPr>
          </a:p>
          <a:p>
            <a:r>
              <a:rPr lang="en-US" sz="2400" u="sng" dirty="0">
                <a:solidFill>
                  <a:srgbClr val="C00000"/>
                </a:solidFill>
                <a:latin typeface="+mj-lt"/>
              </a:rPr>
              <a:t>Reliable supply chain and device management </a:t>
            </a:r>
            <a:r>
              <a:rPr lang="en-US" sz="2400" dirty="0">
                <a:latin typeface="+mj-lt"/>
              </a:rPr>
              <a:t>systems ensure uninterrupted testing and increase productivity </a:t>
            </a:r>
          </a:p>
          <a:p>
            <a:endParaRPr lang="en-US" dirty="0"/>
          </a:p>
        </p:txBody>
      </p:sp>
      <p:sp>
        <p:nvSpPr>
          <p:cNvPr id="3" name="Rectangle 2"/>
          <p:cNvSpPr>
            <a:spLocks noGrp="1" noChangeArrowheads="1"/>
          </p:cNvSpPr>
          <p:nvPr>
            <p:ph type="title"/>
          </p:nvPr>
        </p:nvSpPr>
        <p:spPr>
          <a:xfrm>
            <a:off x="0" y="0"/>
            <a:ext cx="12188825" cy="1066800"/>
          </a:xfrm>
          <a:solidFill>
            <a:schemeClr val="accent5">
              <a:lumMod val="50000"/>
            </a:schemeClr>
          </a:solidFill>
        </p:spPr>
        <p:txBody>
          <a:bodyPr vert="horz" lIns="91440" tIns="45720" rIns="91440" bIns="45720" rtlCol="0" anchor="ctr">
            <a:noAutofit/>
          </a:bodyPr>
          <a:lstStyle/>
          <a:p>
            <a:pPr algn="l" defTabSz="914400" eaLnBrk="1" hangingPunct="1"/>
            <a:r>
              <a:rPr lang="en-US" sz="2400" dirty="0">
                <a:solidFill>
                  <a:schemeClr val="bg1"/>
                </a:solidFill>
                <a:ea typeface="+mj-ea"/>
                <a:cs typeface="+mj-cs"/>
              </a:rPr>
              <a:t>Summary </a:t>
            </a:r>
          </a:p>
        </p:txBody>
      </p:sp>
    </p:spTree>
    <p:extLst>
      <p:ext uri="{BB962C8B-B14F-4D97-AF65-F5344CB8AC3E}">
        <p14:creationId xmlns:p14="http://schemas.microsoft.com/office/powerpoint/2010/main" val="28979981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6</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6</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30"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621"/>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9970" name="Rectangle 2"/>
          <p:cNvSpPr>
            <a:spLocks noGrp="1" noChangeArrowheads="1"/>
          </p:cNvSpPr>
          <p:nvPr>
            <p:ph type="title"/>
          </p:nvPr>
        </p:nvSpPr>
        <p:spPr>
          <a:xfrm>
            <a:off x="0" y="21"/>
            <a:ext cx="12188825" cy="832513"/>
          </a:xfrm>
          <a:solidFill>
            <a:srgbClr val="215968"/>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Pre-testing Errors</a:t>
            </a:r>
          </a:p>
        </p:txBody>
      </p:sp>
      <p:sp>
        <p:nvSpPr>
          <p:cNvPr id="979971" name="Rectangle 3"/>
          <p:cNvSpPr>
            <a:spLocks noGrp="1" noChangeArrowheads="1"/>
          </p:cNvSpPr>
          <p:nvPr>
            <p:ph idx="1"/>
          </p:nvPr>
        </p:nvSpPr>
        <p:spPr>
          <a:xfrm>
            <a:off x="455612" y="1770815"/>
            <a:ext cx="5484971" cy="4858603"/>
          </a:xfrm>
          <a:ln>
            <a:solidFill>
              <a:schemeClr val="accent1"/>
            </a:solidFill>
          </a:ln>
        </p:spPr>
        <p:txBody>
          <a:bodyPr>
            <a:normAutofit/>
          </a:bodyPr>
          <a:lstStyle/>
          <a:p>
            <a:pPr algn="just">
              <a:lnSpc>
                <a:spcPct val="85000"/>
              </a:lnSpc>
              <a:buFontTx/>
              <a:buNone/>
            </a:pPr>
            <a:endParaRPr lang="en-US" sz="2000" b="1" dirty="0">
              <a:latin typeface="Calibri" pitchFamily="34" charset="0"/>
            </a:endParaRPr>
          </a:p>
          <a:p>
            <a:pPr>
              <a:lnSpc>
                <a:spcPct val="85000"/>
              </a:lnSpc>
            </a:pPr>
            <a:r>
              <a:rPr lang="en-US" sz="2000" dirty="0">
                <a:latin typeface="Calibri" pitchFamily="34" charset="0"/>
              </a:rPr>
              <a:t>Specimen not collected properly </a:t>
            </a:r>
            <a:endParaRPr lang="en-US" sz="2000" dirty="0">
              <a:solidFill>
                <a:srgbClr val="FF0000"/>
              </a:solidFill>
              <a:latin typeface="Calibri" pitchFamily="34" charset="0"/>
            </a:endParaRPr>
          </a:p>
          <a:p>
            <a:pPr marL="0" indent="0">
              <a:lnSpc>
                <a:spcPct val="85000"/>
              </a:lnSpc>
              <a:buNone/>
            </a:pPr>
            <a:endParaRPr lang="en-US" sz="2000" dirty="0">
              <a:solidFill>
                <a:srgbClr val="FF0000"/>
              </a:solidFill>
              <a:latin typeface="Calibri" pitchFamily="34" charset="0"/>
            </a:endParaRPr>
          </a:p>
          <a:p>
            <a:pPr>
              <a:lnSpc>
                <a:spcPct val="85000"/>
              </a:lnSpc>
            </a:pPr>
            <a:r>
              <a:rPr lang="en-US" sz="2000" dirty="0">
                <a:latin typeface="Calibri" pitchFamily="34" charset="0"/>
              </a:rPr>
              <a:t>Specimen mislabeled or unlabeled</a:t>
            </a:r>
            <a:endParaRPr lang="en-US" sz="2000" dirty="0">
              <a:solidFill>
                <a:srgbClr val="FF0000"/>
              </a:solidFill>
              <a:latin typeface="Calibri" pitchFamily="34" charset="0"/>
            </a:endParaRPr>
          </a:p>
          <a:p>
            <a:pPr marL="0" indent="0">
              <a:lnSpc>
                <a:spcPct val="85000"/>
              </a:lnSpc>
              <a:buNone/>
            </a:pPr>
            <a:endParaRPr lang="en-US" sz="2000" dirty="0">
              <a:solidFill>
                <a:srgbClr val="FF0000"/>
              </a:solidFill>
              <a:latin typeface="Calibri" pitchFamily="34" charset="0"/>
            </a:endParaRPr>
          </a:p>
          <a:p>
            <a:pPr>
              <a:lnSpc>
                <a:spcPct val="85000"/>
              </a:lnSpc>
            </a:pPr>
            <a:r>
              <a:rPr lang="en-US" sz="2000" dirty="0">
                <a:latin typeface="Calibri" pitchFamily="34" charset="0"/>
              </a:rPr>
              <a:t>Wrong Specimen/Specimen Container</a:t>
            </a:r>
          </a:p>
          <a:p>
            <a:pPr marL="0" indent="0">
              <a:lnSpc>
                <a:spcPct val="85000"/>
              </a:lnSpc>
              <a:buNone/>
            </a:pPr>
            <a:endParaRPr lang="en-US" sz="2000" dirty="0">
              <a:latin typeface="Calibri" pitchFamily="34" charset="0"/>
            </a:endParaRPr>
          </a:p>
          <a:p>
            <a:pPr>
              <a:lnSpc>
                <a:spcPct val="85000"/>
              </a:lnSpc>
            </a:pPr>
            <a:r>
              <a:rPr lang="en-US" sz="2000" dirty="0">
                <a:latin typeface="Calibri" pitchFamily="34" charset="0"/>
              </a:rPr>
              <a:t>Specimen stored inappropriately before testing</a:t>
            </a:r>
          </a:p>
          <a:p>
            <a:pPr>
              <a:lnSpc>
                <a:spcPct val="85000"/>
              </a:lnSpc>
            </a:pPr>
            <a:endParaRPr lang="en-US" sz="2000" dirty="0">
              <a:solidFill>
                <a:srgbClr val="FF0000"/>
              </a:solidFill>
              <a:latin typeface="Calibri" pitchFamily="34" charset="0"/>
            </a:endParaRPr>
          </a:p>
          <a:p>
            <a:pPr>
              <a:lnSpc>
                <a:spcPct val="85000"/>
              </a:lnSpc>
            </a:pPr>
            <a:r>
              <a:rPr lang="en-US" sz="2000" dirty="0">
                <a:latin typeface="Calibri" pitchFamily="34" charset="0"/>
              </a:rPr>
              <a:t>Specimen transported inappropriately</a:t>
            </a:r>
          </a:p>
          <a:p>
            <a:pPr marL="0" indent="0">
              <a:lnSpc>
                <a:spcPct val="85000"/>
              </a:lnSpc>
              <a:buNone/>
            </a:pPr>
            <a:endParaRPr lang="en-US" sz="2000" dirty="0">
              <a:latin typeface="Calibri" pitchFamily="34" charset="0"/>
            </a:endParaRPr>
          </a:p>
          <a:p>
            <a:pPr>
              <a:lnSpc>
                <a:spcPct val="85000"/>
              </a:lnSpc>
            </a:pPr>
            <a:r>
              <a:rPr lang="en-US" sz="2000" dirty="0">
                <a:latin typeface="Calibri" pitchFamily="34" charset="0"/>
              </a:rPr>
              <a:t>Test kits stored inappropriately</a:t>
            </a:r>
            <a:endParaRPr lang="en-US" sz="2000" dirty="0">
              <a:solidFill>
                <a:srgbClr val="FF0000"/>
              </a:solidFill>
              <a:latin typeface="Calibri" pitchFamily="34" charset="0"/>
            </a:endParaRPr>
          </a:p>
        </p:txBody>
      </p:sp>
      <p:sp>
        <p:nvSpPr>
          <p:cNvPr id="5" name="Rectangle 3"/>
          <p:cNvSpPr txBox="1">
            <a:spLocks noChangeArrowheads="1"/>
          </p:cNvSpPr>
          <p:nvPr/>
        </p:nvSpPr>
        <p:spPr>
          <a:xfrm>
            <a:off x="6346876" y="1798091"/>
            <a:ext cx="5484971" cy="4831306"/>
          </a:xfrm>
          <a:prstGeom prst="rect">
            <a:avLst/>
          </a:prstGeom>
          <a:ln>
            <a:solidFill>
              <a:schemeClr val="accent1"/>
            </a:solidFill>
          </a:ln>
        </p:spPr>
        <p:txBody>
          <a:bodyPr vert="horz">
            <a:normAutofit/>
          </a:bodyPr>
          <a:lstStyle/>
          <a:p>
            <a:pPr marL="365760" indent="-256032">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heck storage and room temperature</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ollect appropriate specimen</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Use of appropriate Specimen Container</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Select an appropriate testing workspace </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heck inventory and expiration dates</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Review testing procedures</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Record pertinent information, and label test device </a:t>
            </a:r>
          </a:p>
          <a:p>
            <a:pPr marL="365760" indent="-256032">
              <a:lnSpc>
                <a:spcPct val="80000"/>
              </a:lnSpc>
              <a:spcBef>
                <a:spcPts val="300"/>
              </a:spcBef>
              <a:buClr>
                <a:srgbClr val="9BBB59"/>
              </a:buClr>
              <a:buFont typeface="Georgia"/>
              <a:buChar char="•"/>
              <a:defRPr/>
            </a:pPr>
            <a:endParaRPr lang="en-US" sz="2400" dirty="0">
              <a:solidFill>
                <a:prstClr val="black"/>
              </a:solidFill>
              <a:ea typeface="ＭＳ Ｐゴシック" pitchFamily="34" charset="-128"/>
            </a:endParaRPr>
          </a:p>
        </p:txBody>
      </p:sp>
      <p:sp>
        <p:nvSpPr>
          <p:cNvPr id="6" name="TextBox 5"/>
          <p:cNvSpPr txBox="1"/>
          <p:nvPr/>
        </p:nvSpPr>
        <p:spPr>
          <a:xfrm>
            <a:off x="455612" y="1014502"/>
            <a:ext cx="5484971" cy="696035"/>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457200" fontAlgn="base"/>
            <a:r>
              <a:rPr lang="en-US" sz="2000" b="1" dirty="0">
                <a:solidFill>
                  <a:prstClr val="white"/>
                </a:solidFill>
              </a:rPr>
              <a:t>Examples</a:t>
            </a:r>
          </a:p>
        </p:txBody>
      </p:sp>
      <p:sp>
        <p:nvSpPr>
          <p:cNvPr id="9" name="TextBox 8"/>
          <p:cNvSpPr txBox="1"/>
          <p:nvPr/>
        </p:nvSpPr>
        <p:spPr>
          <a:xfrm>
            <a:off x="6346876" y="1003129"/>
            <a:ext cx="5484971" cy="70740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before testing</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33342259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0994" name="Rectangle 2"/>
          <p:cNvSpPr>
            <a:spLocks noGrp="1" noChangeArrowheads="1"/>
          </p:cNvSpPr>
          <p:nvPr>
            <p:ph type="title"/>
          </p:nvPr>
        </p:nvSpPr>
        <p:spPr>
          <a:xfrm>
            <a:off x="0" y="21"/>
            <a:ext cx="12188825" cy="83251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esting Errors</a:t>
            </a:r>
          </a:p>
        </p:txBody>
      </p:sp>
      <p:sp>
        <p:nvSpPr>
          <p:cNvPr id="980995" name="Rectangle 3"/>
          <p:cNvSpPr>
            <a:spLocks noGrp="1" noChangeArrowheads="1"/>
          </p:cNvSpPr>
          <p:nvPr>
            <p:ph idx="1"/>
          </p:nvPr>
        </p:nvSpPr>
        <p:spPr>
          <a:xfrm>
            <a:off x="433177" y="1782172"/>
            <a:ext cx="5484970" cy="4923428"/>
          </a:xfrm>
          <a:ln>
            <a:solidFill>
              <a:schemeClr val="accent1"/>
            </a:solidFill>
          </a:ln>
        </p:spPr>
        <p:txBody>
          <a:bodyPr>
            <a:noAutofit/>
          </a:bodyPr>
          <a:lstStyle/>
          <a:p>
            <a:pPr>
              <a:lnSpc>
                <a:spcPct val="85000"/>
              </a:lnSpc>
            </a:pPr>
            <a:r>
              <a:rPr lang="en-US" sz="1800" dirty="0">
                <a:latin typeface="Calibri" pitchFamily="34" charset="0"/>
              </a:rPr>
              <a:t>SOPs not followed </a:t>
            </a:r>
          </a:p>
          <a:p>
            <a:pPr>
              <a:lnSpc>
                <a:spcPct val="85000"/>
              </a:lnSpc>
            </a:pPr>
            <a:endParaRPr lang="en-US" sz="1800" dirty="0">
              <a:latin typeface="Calibri" pitchFamily="34" charset="0"/>
            </a:endParaRPr>
          </a:p>
          <a:p>
            <a:pPr>
              <a:lnSpc>
                <a:spcPct val="85000"/>
              </a:lnSpc>
            </a:pPr>
            <a:r>
              <a:rPr lang="en-US" sz="1800" dirty="0">
                <a:latin typeface="Calibri" pitchFamily="34" charset="0"/>
              </a:rPr>
              <a:t>Operators not trained or competent to perform the test</a:t>
            </a:r>
          </a:p>
          <a:p>
            <a:pPr marL="0" indent="0">
              <a:lnSpc>
                <a:spcPct val="85000"/>
              </a:lnSpc>
              <a:buNone/>
            </a:pPr>
            <a:endParaRPr lang="en-US" sz="1800" dirty="0">
              <a:solidFill>
                <a:srgbClr val="FF0000"/>
              </a:solidFill>
              <a:latin typeface="Calibri" pitchFamily="34" charset="0"/>
            </a:endParaRPr>
          </a:p>
          <a:p>
            <a:pPr>
              <a:lnSpc>
                <a:spcPct val="85000"/>
              </a:lnSpc>
            </a:pPr>
            <a:r>
              <a:rPr lang="en-US" sz="1800" dirty="0">
                <a:latin typeface="Calibri" pitchFamily="34" charset="0"/>
              </a:rPr>
              <a:t>Incorrect timing of test</a:t>
            </a:r>
          </a:p>
          <a:p>
            <a:pPr>
              <a:lnSpc>
                <a:spcPct val="85000"/>
              </a:lnSpc>
            </a:pPr>
            <a:endParaRPr lang="en-US" sz="1800" dirty="0">
              <a:latin typeface="Calibri" pitchFamily="34" charset="0"/>
            </a:endParaRPr>
          </a:p>
          <a:p>
            <a:pPr>
              <a:lnSpc>
                <a:spcPct val="85000"/>
              </a:lnSpc>
            </a:pPr>
            <a:r>
              <a:rPr lang="en-US" sz="1800" dirty="0">
                <a:latin typeface="Calibri" pitchFamily="34" charset="0"/>
              </a:rPr>
              <a:t>Results reported when control results out of range</a:t>
            </a:r>
          </a:p>
          <a:p>
            <a:pPr>
              <a:lnSpc>
                <a:spcPct val="85000"/>
              </a:lnSpc>
            </a:pPr>
            <a:endParaRPr lang="en-US" sz="1800" dirty="0">
              <a:solidFill>
                <a:srgbClr val="FF0000"/>
              </a:solidFill>
              <a:latin typeface="Calibri" pitchFamily="34" charset="0"/>
            </a:endParaRPr>
          </a:p>
          <a:p>
            <a:pPr>
              <a:lnSpc>
                <a:spcPct val="85000"/>
              </a:lnSpc>
            </a:pPr>
            <a:r>
              <a:rPr lang="en-US" sz="1800" dirty="0">
                <a:latin typeface="Calibri" pitchFamily="34" charset="0"/>
              </a:rPr>
              <a:t>Improper measurements of specimen or reagents</a:t>
            </a:r>
          </a:p>
          <a:p>
            <a:pPr marL="0" indent="0">
              <a:lnSpc>
                <a:spcPct val="85000"/>
              </a:lnSpc>
              <a:buNone/>
            </a:pPr>
            <a:endParaRPr lang="en-US" sz="1800" dirty="0">
              <a:latin typeface="Calibri" pitchFamily="34" charset="0"/>
            </a:endParaRPr>
          </a:p>
          <a:p>
            <a:pPr>
              <a:lnSpc>
                <a:spcPct val="85000"/>
              </a:lnSpc>
            </a:pPr>
            <a:r>
              <a:rPr lang="en-US" sz="1800" dirty="0">
                <a:latin typeface="Calibri" pitchFamily="34" charset="0"/>
              </a:rPr>
              <a:t>Reagents stored inappropriately or used after expiration date</a:t>
            </a:r>
          </a:p>
          <a:p>
            <a:pPr marL="0" indent="0">
              <a:lnSpc>
                <a:spcPct val="85000"/>
              </a:lnSpc>
              <a:buNone/>
            </a:pPr>
            <a:endParaRPr lang="en-US" sz="1800" dirty="0">
              <a:latin typeface="Calibri" pitchFamily="34" charset="0"/>
            </a:endParaRPr>
          </a:p>
          <a:p>
            <a:pPr>
              <a:lnSpc>
                <a:spcPct val="85000"/>
              </a:lnSpc>
            </a:pPr>
            <a:r>
              <a:rPr lang="en-US" sz="1800" dirty="0">
                <a:latin typeface="Calibri" pitchFamily="34" charset="0"/>
              </a:rPr>
              <a:t>Insufficient sample collected</a:t>
            </a:r>
            <a:endParaRPr lang="en-US" sz="1800" dirty="0">
              <a:solidFill>
                <a:srgbClr val="FF0000"/>
              </a:solidFill>
              <a:latin typeface="Calibri" pitchFamily="34" charset="0"/>
            </a:endParaRPr>
          </a:p>
          <a:p>
            <a:pPr marL="0" indent="0">
              <a:lnSpc>
                <a:spcPct val="85000"/>
              </a:lnSpc>
              <a:buNone/>
            </a:pPr>
            <a:endParaRPr lang="en-US" sz="1800" dirty="0">
              <a:solidFill>
                <a:srgbClr val="FF0000"/>
              </a:solidFill>
              <a:latin typeface="Calibri" pitchFamily="34" charset="0"/>
            </a:endParaRPr>
          </a:p>
          <a:p>
            <a:pPr>
              <a:lnSpc>
                <a:spcPct val="85000"/>
              </a:lnSpc>
            </a:pPr>
            <a:r>
              <a:rPr lang="en-US" sz="1800" dirty="0">
                <a:latin typeface="Calibri" pitchFamily="34" charset="0"/>
              </a:rPr>
              <a:t>Incorrect reagents used </a:t>
            </a:r>
          </a:p>
        </p:txBody>
      </p:sp>
      <p:sp>
        <p:nvSpPr>
          <p:cNvPr id="5" name="Rectangle 3"/>
          <p:cNvSpPr txBox="1">
            <a:spLocks noChangeArrowheads="1"/>
          </p:cNvSpPr>
          <p:nvPr/>
        </p:nvSpPr>
        <p:spPr>
          <a:xfrm>
            <a:off x="6324442" y="1782172"/>
            <a:ext cx="5484971" cy="4923428"/>
          </a:xfrm>
          <a:prstGeom prst="rect">
            <a:avLst/>
          </a:prstGeom>
          <a:ln>
            <a:solidFill>
              <a:schemeClr val="accent1"/>
            </a:solidFill>
          </a:ln>
        </p:spPr>
        <p:txBody>
          <a:bodyPr vert="horz">
            <a:normAutofit/>
          </a:bodyPr>
          <a:lstStyle/>
          <a:p>
            <a:pPr marL="365760" indent="-256032">
              <a:spcBef>
                <a:spcPts val="300"/>
              </a:spcBef>
              <a:buFont typeface="Georgia"/>
              <a:buChar char="•"/>
              <a:defRPr/>
            </a:pPr>
            <a:r>
              <a:rPr lang="en-US" dirty="0">
                <a:solidFill>
                  <a:prstClr val="black"/>
                </a:solidFill>
                <a:ea typeface="ＭＳ Ｐゴシック" pitchFamily="34" charset="-128"/>
              </a:rPr>
              <a:t>Ensure the device runs everyday</a:t>
            </a:r>
          </a:p>
          <a:p>
            <a:pPr marL="365760" indent="-256032">
              <a:spcBef>
                <a:spcPts val="300"/>
              </a:spcBef>
              <a:buFont typeface="Georgia"/>
              <a:buChar char="•"/>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Ensure all operators are trained and have appropriate certification</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Perform and review Quality Controls (QC) – run standard controls, if necessary for the platform</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Follow safety precautions</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Conduct test according to written procedures (Follow SOP)</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Correctly interpret test results</a:t>
            </a:r>
          </a:p>
        </p:txBody>
      </p:sp>
      <p:sp>
        <p:nvSpPr>
          <p:cNvPr id="6" name="TextBox 5"/>
          <p:cNvSpPr txBox="1"/>
          <p:nvPr/>
        </p:nvSpPr>
        <p:spPr>
          <a:xfrm>
            <a:off x="433178"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Examples</a:t>
            </a:r>
          </a:p>
        </p:txBody>
      </p:sp>
      <p:sp>
        <p:nvSpPr>
          <p:cNvPr id="7" name="TextBox 6"/>
          <p:cNvSpPr txBox="1"/>
          <p:nvPr/>
        </p:nvSpPr>
        <p:spPr>
          <a:xfrm>
            <a:off x="6324442"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during testing</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8118277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201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Post-testing Errors</a:t>
            </a:r>
          </a:p>
        </p:txBody>
      </p:sp>
      <p:sp>
        <p:nvSpPr>
          <p:cNvPr id="982019" name="Rectangle 3"/>
          <p:cNvSpPr>
            <a:spLocks noGrp="1" noChangeArrowheads="1"/>
          </p:cNvSpPr>
          <p:nvPr>
            <p:ph idx="1"/>
          </p:nvPr>
        </p:nvSpPr>
        <p:spPr>
          <a:xfrm>
            <a:off x="433178" y="2024418"/>
            <a:ext cx="5484971" cy="4300182"/>
          </a:xfrm>
          <a:ln>
            <a:solidFill>
              <a:schemeClr val="accent1"/>
            </a:solidFill>
          </a:ln>
        </p:spPr>
        <p:txBody>
          <a:bodyPr>
            <a:normAutofit/>
          </a:bodyPr>
          <a:lstStyle/>
          <a:p>
            <a:pPr>
              <a:buFontTx/>
              <a:buNone/>
            </a:pPr>
            <a:endParaRPr lang="en-US" sz="2400" dirty="0">
              <a:latin typeface="Calibri" pitchFamily="34" charset="0"/>
            </a:endParaRPr>
          </a:p>
          <a:p>
            <a:r>
              <a:rPr lang="en-US" sz="2000" dirty="0">
                <a:latin typeface="Calibri" pitchFamily="34" charset="0"/>
              </a:rPr>
              <a:t>Transcription error in recording and reporting</a:t>
            </a:r>
          </a:p>
          <a:p>
            <a:pPr marL="0" indent="0">
              <a:buNone/>
            </a:pPr>
            <a:endParaRPr lang="en-US" sz="2000" dirty="0">
              <a:latin typeface="Calibri" pitchFamily="34" charset="0"/>
            </a:endParaRPr>
          </a:p>
          <a:p>
            <a:r>
              <a:rPr lang="en-US" sz="2000" dirty="0">
                <a:latin typeface="Calibri" pitchFamily="34" charset="0"/>
              </a:rPr>
              <a:t>Report illegible</a:t>
            </a:r>
          </a:p>
          <a:p>
            <a:pPr marL="0" indent="0">
              <a:buNone/>
            </a:pPr>
            <a:endParaRPr lang="en-US" sz="2000" dirty="0">
              <a:latin typeface="Calibri" pitchFamily="34" charset="0"/>
            </a:endParaRPr>
          </a:p>
          <a:p>
            <a:r>
              <a:rPr lang="en-US" sz="2000" dirty="0">
                <a:latin typeface="Calibri" pitchFamily="34" charset="0"/>
              </a:rPr>
              <a:t>Report sent to the wrong location</a:t>
            </a:r>
          </a:p>
          <a:p>
            <a:pPr marL="0" indent="0">
              <a:buNone/>
            </a:pPr>
            <a:endParaRPr lang="en-US" sz="2000" dirty="0">
              <a:latin typeface="Calibri" pitchFamily="34" charset="0"/>
            </a:endParaRPr>
          </a:p>
          <a:p>
            <a:r>
              <a:rPr lang="en-US" sz="2000" dirty="0">
                <a:latin typeface="Calibri" pitchFamily="34" charset="0"/>
              </a:rPr>
              <a:t>Information system not maintained</a:t>
            </a:r>
          </a:p>
        </p:txBody>
      </p:sp>
      <p:sp>
        <p:nvSpPr>
          <p:cNvPr id="5" name="Rectangle 3"/>
          <p:cNvSpPr txBox="1">
            <a:spLocks noChangeArrowheads="1"/>
          </p:cNvSpPr>
          <p:nvPr/>
        </p:nvSpPr>
        <p:spPr>
          <a:xfrm>
            <a:off x="6332020" y="2024418"/>
            <a:ext cx="5477392" cy="4300182"/>
          </a:xfrm>
          <a:prstGeom prst="rect">
            <a:avLst/>
          </a:prstGeom>
          <a:ln>
            <a:solidFill>
              <a:schemeClr val="accent1"/>
            </a:solidFill>
          </a:ln>
        </p:spPr>
        <p:txBody>
          <a:bodyPr vert="horz">
            <a:normAutofit/>
          </a:bodyPr>
          <a:lstStyle/>
          <a:p>
            <a:pPr marL="365760" indent="-256032">
              <a:spcBef>
                <a:spcPts val="300"/>
              </a:spcBef>
              <a:buFont typeface="Georgia"/>
              <a:buNone/>
              <a:defRPr/>
            </a:pPr>
            <a:endParaRPr lang="en-US" sz="2400" b="1"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Re-check patient/client identifier</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Write legibly and ensure an up to date recording </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Clean up and dispose of all waste accordingly </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Package PT panels/specimens for re-testing, if needed</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Examples</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during testing</a:t>
            </a:r>
          </a:p>
        </p:txBody>
      </p:sp>
    </p:spTree>
    <p:extLst>
      <p:ext uri="{BB962C8B-B14F-4D97-AF65-F5344CB8AC3E}">
        <p14:creationId xmlns:p14="http://schemas.microsoft.com/office/powerpoint/2010/main" val="3275924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9"/>
            <a:ext cx="12188825" cy="1219199"/>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Facilities need strong lab systems to sustain quality POC testing</a:t>
            </a:r>
          </a:p>
        </p:txBody>
      </p:sp>
      <p:sp>
        <p:nvSpPr>
          <p:cNvPr id="4" name="Freeform 3"/>
          <p:cNvSpPr>
            <a:spLocks/>
          </p:cNvSpPr>
          <p:nvPr/>
        </p:nvSpPr>
        <p:spPr bwMode="auto">
          <a:xfrm>
            <a:off x="5920896" y="1797746"/>
            <a:ext cx="3157244" cy="2370138"/>
          </a:xfrm>
          <a:custGeom>
            <a:avLst/>
            <a:gdLst>
              <a:gd name="T0" fmla="*/ 0 w 1492"/>
              <a:gd name="T1" fmla="*/ 0 h 1493"/>
              <a:gd name="T2" fmla="*/ 1491 w 1492"/>
              <a:gd name="T3" fmla="*/ 1193 h 1493"/>
              <a:gd name="T4" fmla="*/ 1358 w 1492"/>
              <a:gd name="T5" fmla="*/ 1203 h 1493"/>
              <a:gd name="T6" fmla="*/ 1354 w 1492"/>
              <a:gd name="T7" fmla="*/ 1230 h 1493"/>
              <a:gd name="T8" fmla="*/ 1361 w 1492"/>
              <a:gd name="T9" fmla="*/ 1263 h 1493"/>
              <a:gd name="T10" fmla="*/ 1371 w 1492"/>
              <a:gd name="T11" fmla="*/ 1303 h 1493"/>
              <a:gd name="T12" fmla="*/ 1378 w 1492"/>
              <a:gd name="T13" fmla="*/ 1341 h 1493"/>
              <a:gd name="T14" fmla="*/ 1375 w 1492"/>
              <a:gd name="T15" fmla="*/ 1377 h 1493"/>
              <a:gd name="T16" fmla="*/ 1365 w 1492"/>
              <a:gd name="T17" fmla="*/ 1413 h 1493"/>
              <a:gd name="T18" fmla="*/ 1340 w 1492"/>
              <a:gd name="T19" fmla="*/ 1442 h 1493"/>
              <a:gd name="T20" fmla="*/ 1313 w 1492"/>
              <a:gd name="T21" fmla="*/ 1466 h 1493"/>
              <a:gd name="T22" fmla="*/ 1279 w 1492"/>
              <a:gd name="T23" fmla="*/ 1482 h 1493"/>
              <a:gd name="T24" fmla="*/ 1237 w 1492"/>
              <a:gd name="T25" fmla="*/ 1492 h 1493"/>
              <a:gd name="T26" fmla="*/ 1199 w 1492"/>
              <a:gd name="T27" fmla="*/ 1493 h 1493"/>
              <a:gd name="T28" fmla="*/ 1167 w 1492"/>
              <a:gd name="T29" fmla="*/ 1489 h 1493"/>
              <a:gd name="T30" fmla="*/ 1133 w 1492"/>
              <a:gd name="T31" fmla="*/ 1478 h 1493"/>
              <a:gd name="T32" fmla="*/ 1106 w 1492"/>
              <a:gd name="T33" fmla="*/ 1460 h 1493"/>
              <a:gd name="T34" fmla="*/ 1080 w 1492"/>
              <a:gd name="T35" fmla="*/ 1432 h 1493"/>
              <a:gd name="T36" fmla="*/ 1059 w 1492"/>
              <a:gd name="T37" fmla="*/ 1401 h 1493"/>
              <a:gd name="T38" fmla="*/ 1048 w 1492"/>
              <a:gd name="T39" fmla="*/ 1359 h 1493"/>
              <a:gd name="T40" fmla="*/ 1053 w 1492"/>
              <a:gd name="T41" fmla="*/ 1316 h 1493"/>
              <a:gd name="T42" fmla="*/ 1063 w 1492"/>
              <a:gd name="T43" fmla="*/ 1273 h 1493"/>
              <a:gd name="T44" fmla="*/ 1072 w 1492"/>
              <a:gd name="T45" fmla="*/ 1231 h 1493"/>
              <a:gd name="T46" fmla="*/ 1071 w 1492"/>
              <a:gd name="T47" fmla="*/ 1211 h 1493"/>
              <a:gd name="T48" fmla="*/ 818 w 1492"/>
              <a:gd name="T49" fmla="*/ 1200 h 1493"/>
              <a:gd name="T50" fmla="*/ 821 w 1492"/>
              <a:gd name="T51" fmla="*/ 1130 h 1493"/>
              <a:gd name="T52" fmla="*/ 816 w 1492"/>
              <a:gd name="T53" fmla="*/ 1083 h 1493"/>
              <a:gd name="T54" fmla="*/ 805 w 1492"/>
              <a:gd name="T55" fmla="*/ 1055 h 1493"/>
              <a:gd name="T56" fmla="*/ 785 w 1492"/>
              <a:gd name="T57" fmla="*/ 1033 h 1493"/>
              <a:gd name="T58" fmla="*/ 756 w 1492"/>
              <a:gd name="T59" fmla="*/ 1018 h 1493"/>
              <a:gd name="T60" fmla="*/ 721 w 1492"/>
              <a:gd name="T61" fmla="*/ 1014 h 1493"/>
              <a:gd name="T62" fmla="*/ 671 w 1492"/>
              <a:gd name="T63" fmla="*/ 1017 h 1493"/>
              <a:gd name="T64" fmla="*/ 623 w 1492"/>
              <a:gd name="T65" fmla="*/ 1021 h 1493"/>
              <a:gd name="T66" fmla="*/ 574 w 1492"/>
              <a:gd name="T67" fmla="*/ 1021 h 1493"/>
              <a:gd name="T68" fmla="*/ 524 w 1492"/>
              <a:gd name="T69" fmla="*/ 1011 h 1493"/>
              <a:gd name="T70" fmla="*/ 487 w 1492"/>
              <a:gd name="T71" fmla="*/ 989 h 1493"/>
              <a:gd name="T72" fmla="*/ 465 w 1492"/>
              <a:gd name="T73" fmla="*/ 958 h 1493"/>
              <a:gd name="T74" fmla="*/ 456 w 1492"/>
              <a:gd name="T75" fmla="*/ 917 h 1493"/>
              <a:gd name="T76" fmla="*/ 457 w 1492"/>
              <a:gd name="T77" fmla="*/ 870 h 1493"/>
              <a:gd name="T78" fmla="*/ 451 w 1492"/>
              <a:gd name="T79" fmla="*/ 828 h 1493"/>
              <a:gd name="T80" fmla="*/ 440 w 1492"/>
              <a:gd name="T81" fmla="*/ 801 h 1493"/>
              <a:gd name="T82" fmla="*/ 425 w 1492"/>
              <a:gd name="T83" fmla="*/ 784 h 1493"/>
              <a:gd name="T84" fmla="*/ 388 w 1492"/>
              <a:gd name="T85" fmla="*/ 766 h 1493"/>
              <a:gd name="T86" fmla="*/ 341 w 1492"/>
              <a:gd name="T87" fmla="*/ 753 h 1493"/>
              <a:gd name="T88" fmla="*/ 287 w 1492"/>
              <a:gd name="T89" fmla="*/ 744 h 1493"/>
              <a:gd name="T90" fmla="*/ 247 w 1492"/>
              <a:gd name="T91" fmla="*/ 731 h 1493"/>
              <a:gd name="T92" fmla="*/ 212 w 1492"/>
              <a:gd name="T93" fmla="*/ 711 h 1493"/>
              <a:gd name="T94" fmla="*/ 184 w 1492"/>
              <a:gd name="T95" fmla="*/ 683 h 1493"/>
              <a:gd name="T96" fmla="*/ 166 w 1492"/>
              <a:gd name="T97" fmla="*/ 648 h 1493"/>
              <a:gd name="T98" fmla="*/ 163 w 1492"/>
              <a:gd name="T99" fmla="*/ 609 h 1493"/>
              <a:gd name="T100" fmla="*/ 174 w 1492"/>
              <a:gd name="T101" fmla="*/ 567 h 1493"/>
              <a:gd name="T102" fmla="*/ 183 w 1492"/>
              <a:gd name="T103" fmla="*/ 519 h 1493"/>
              <a:gd name="T104" fmla="*/ 190 w 1492"/>
              <a:gd name="T105" fmla="*/ 474 h 1493"/>
              <a:gd name="T106" fmla="*/ 183 w 1492"/>
              <a:gd name="T107" fmla="*/ 428 h 1493"/>
              <a:gd name="T108" fmla="*/ 164 w 1492"/>
              <a:gd name="T109" fmla="*/ 387 h 1493"/>
              <a:gd name="T110" fmla="*/ 146 w 1492"/>
              <a:gd name="T111" fmla="*/ 362 h 1493"/>
              <a:gd name="T112" fmla="*/ 123 w 1492"/>
              <a:gd name="T113" fmla="*/ 339 h 1493"/>
              <a:gd name="T114" fmla="*/ 96 w 1492"/>
              <a:gd name="T115" fmla="*/ 323 h 1493"/>
              <a:gd name="T116" fmla="*/ 61 w 1492"/>
              <a:gd name="T117" fmla="*/ 313 h 1493"/>
              <a:gd name="T118" fmla="*/ 19 w 1492"/>
              <a:gd name="T119" fmla="*/ 31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2" h="1493">
                <a:moveTo>
                  <a:pt x="0" y="311"/>
                </a:moveTo>
                <a:lnTo>
                  <a:pt x="0" y="0"/>
                </a:lnTo>
                <a:lnTo>
                  <a:pt x="1492" y="0"/>
                </a:lnTo>
                <a:lnTo>
                  <a:pt x="1491" y="1193"/>
                </a:lnTo>
                <a:lnTo>
                  <a:pt x="1364" y="1192"/>
                </a:lnTo>
                <a:lnTo>
                  <a:pt x="1358" y="1203"/>
                </a:lnTo>
                <a:lnTo>
                  <a:pt x="1354" y="1218"/>
                </a:lnTo>
                <a:lnTo>
                  <a:pt x="1354" y="1230"/>
                </a:lnTo>
                <a:lnTo>
                  <a:pt x="1356" y="1244"/>
                </a:lnTo>
                <a:lnTo>
                  <a:pt x="1361" y="1263"/>
                </a:lnTo>
                <a:lnTo>
                  <a:pt x="1366" y="1287"/>
                </a:lnTo>
                <a:lnTo>
                  <a:pt x="1371" y="1303"/>
                </a:lnTo>
                <a:lnTo>
                  <a:pt x="1375" y="1323"/>
                </a:lnTo>
                <a:lnTo>
                  <a:pt x="1378" y="1341"/>
                </a:lnTo>
                <a:lnTo>
                  <a:pt x="1378" y="1360"/>
                </a:lnTo>
                <a:lnTo>
                  <a:pt x="1375" y="1377"/>
                </a:lnTo>
                <a:lnTo>
                  <a:pt x="1371" y="1396"/>
                </a:lnTo>
                <a:lnTo>
                  <a:pt x="1365" y="1413"/>
                </a:lnTo>
                <a:lnTo>
                  <a:pt x="1354" y="1426"/>
                </a:lnTo>
                <a:lnTo>
                  <a:pt x="1340" y="1442"/>
                </a:lnTo>
                <a:lnTo>
                  <a:pt x="1326" y="1454"/>
                </a:lnTo>
                <a:lnTo>
                  <a:pt x="1313" y="1466"/>
                </a:lnTo>
                <a:lnTo>
                  <a:pt x="1297" y="1476"/>
                </a:lnTo>
                <a:lnTo>
                  <a:pt x="1279" y="1482"/>
                </a:lnTo>
                <a:lnTo>
                  <a:pt x="1257" y="1489"/>
                </a:lnTo>
                <a:lnTo>
                  <a:pt x="1237" y="1492"/>
                </a:lnTo>
                <a:lnTo>
                  <a:pt x="1218" y="1493"/>
                </a:lnTo>
                <a:lnTo>
                  <a:pt x="1199" y="1493"/>
                </a:lnTo>
                <a:lnTo>
                  <a:pt x="1181" y="1492"/>
                </a:lnTo>
                <a:lnTo>
                  <a:pt x="1167" y="1489"/>
                </a:lnTo>
                <a:lnTo>
                  <a:pt x="1150" y="1484"/>
                </a:lnTo>
                <a:lnTo>
                  <a:pt x="1133" y="1478"/>
                </a:lnTo>
                <a:lnTo>
                  <a:pt x="1120" y="1470"/>
                </a:lnTo>
                <a:lnTo>
                  <a:pt x="1106" y="1460"/>
                </a:lnTo>
                <a:lnTo>
                  <a:pt x="1093" y="1446"/>
                </a:lnTo>
                <a:lnTo>
                  <a:pt x="1080" y="1432"/>
                </a:lnTo>
                <a:lnTo>
                  <a:pt x="1068" y="1417"/>
                </a:lnTo>
                <a:lnTo>
                  <a:pt x="1059" y="1401"/>
                </a:lnTo>
                <a:lnTo>
                  <a:pt x="1053" y="1381"/>
                </a:lnTo>
                <a:lnTo>
                  <a:pt x="1048" y="1359"/>
                </a:lnTo>
                <a:lnTo>
                  <a:pt x="1048" y="1337"/>
                </a:lnTo>
                <a:lnTo>
                  <a:pt x="1053" y="1316"/>
                </a:lnTo>
                <a:lnTo>
                  <a:pt x="1058" y="1295"/>
                </a:lnTo>
                <a:lnTo>
                  <a:pt x="1063" y="1273"/>
                </a:lnTo>
                <a:lnTo>
                  <a:pt x="1070" y="1249"/>
                </a:lnTo>
                <a:lnTo>
                  <a:pt x="1072" y="1231"/>
                </a:lnTo>
                <a:lnTo>
                  <a:pt x="1072" y="1220"/>
                </a:lnTo>
                <a:lnTo>
                  <a:pt x="1071" y="1211"/>
                </a:lnTo>
                <a:lnTo>
                  <a:pt x="1067" y="1200"/>
                </a:lnTo>
                <a:lnTo>
                  <a:pt x="818" y="1200"/>
                </a:lnTo>
                <a:lnTo>
                  <a:pt x="822" y="1155"/>
                </a:lnTo>
                <a:lnTo>
                  <a:pt x="821" y="1130"/>
                </a:lnTo>
                <a:lnTo>
                  <a:pt x="818" y="1106"/>
                </a:lnTo>
                <a:lnTo>
                  <a:pt x="816" y="1083"/>
                </a:lnTo>
                <a:lnTo>
                  <a:pt x="812" y="1069"/>
                </a:lnTo>
                <a:lnTo>
                  <a:pt x="805" y="1055"/>
                </a:lnTo>
                <a:lnTo>
                  <a:pt x="798" y="1043"/>
                </a:lnTo>
                <a:lnTo>
                  <a:pt x="785" y="1033"/>
                </a:lnTo>
                <a:lnTo>
                  <a:pt x="770" y="1023"/>
                </a:lnTo>
                <a:lnTo>
                  <a:pt x="756" y="1018"/>
                </a:lnTo>
                <a:lnTo>
                  <a:pt x="743" y="1015"/>
                </a:lnTo>
                <a:lnTo>
                  <a:pt x="721" y="1014"/>
                </a:lnTo>
                <a:lnTo>
                  <a:pt x="695" y="1014"/>
                </a:lnTo>
                <a:lnTo>
                  <a:pt x="671" y="1017"/>
                </a:lnTo>
                <a:lnTo>
                  <a:pt x="644" y="1018"/>
                </a:lnTo>
                <a:lnTo>
                  <a:pt x="623" y="1021"/>
                </a:lnTo>
                <a:lnTo>
                  <a:pt x="596" y="1022"/>
                </a:lnTo>
                <a:lnTo>
                  <a:pt x="574" y="1021"/>
                </a:lnTo>
                <a:lnTo>
                  <a:pt x="554" y="1018"/>
                </a:lnTo>
                <a:lnTo>
                  <a:pt x="524" y="1011"/>
                </a:lnTo>
                <a:lnTo>
                  <a:pt x="505" y="1002"/>
                </a:lnTo>
                <a:lnTo>
                  <a:pt x="487" y="989"/>
                </a:lnTo>
                <a:lnTo>
                  <a:pt x="475" y="974"/>
                </a:lnTo>
                <a:lnTo>
                  <a:pt x="465" y="958"/>
                </a:lnTo>
                <a:lnTo>
                  <a:pt x="457" y="938"/>
                </a:lnTo>
                <a:lnTo>
                  <a:pt x="456" y="917"/>
                </a:lnTo>
                <a:lnTo>
                  <a:pt x="456" y="890"/>
                </a:lnTo>
                <a:lnTo>
                  <a:pt x="457" y="870"/>
                </a:lnTo>
                <a:lnTo>
                  <a:pt x="456" y="850"/>
                </a:lnTo>
                <a:lnTo>
                  <a:pt x="451" y="828"/>
                </a:lnTo>
                <a:lnTo>
                  <a:pt x="447" y="814"/>
                </a:lnTo>
                <a:lnTo>
                  <a:pt x="440" y="801"/>
                </a:lnTo>
                <a:lnTo>
                  <a:pt x="432" y="792"/>
                </a:lnTo>
                <a:lnTo>
                  <a:pt x="425" y="784"/>
                </a:lnTo>
                <a:lnTo>
                  <a:pt x="408" y="776"/>
                </a:lnTo>
                <a:lnTo>
                  <a:pt x="388" y="766"/>
                </a:lnTo>
                <a:lnTo>
                  <a:pt x="366" y="760"/>
                </a:lnTo>
                <a:lnTo>
                  <a:pt x="341" y="753"/>
                </a:lnTo>
                <a:lnTo>
                  <a:pt x="315" y="748"/>
                </a:lnTo>
                <a:lnTo>
                  <a:pt x="287" y="744"/>
                </a:lnTo>
                <a:lnTo>
                  <a:pt x="268" y="737"/>
                </a:lnTo>
                <a:lnTo>
                  <a:pt x="247" y="731"/>
                </a:lnTo>
                <a:lnTo>
                  <a:pt x="227" y="723"/>
                </a:lnTo>
                <a:lnTo>
                  <a:pt x="212" y="711"/>
                </a:lnTo>
                <a:lnTo>
                  <a:pt x="196" y="696"/>
                </a:lnTo>
                <a:lnTo>
                  <a:pt x="184" y="683"/>
                </a:lnTo>
                <a:lnTo>
                  <a:pt x="174" y="667"/>
                </a:lnTo>
                <a:lnTo>
                  <a:pt x="166" y="648"/>
                </a:lnTo>
                <a:lnTo>
                  <a:pt x="163" y="628"/>
                </a:lnTo>
                <a:lnTo>
                  <a:pt x="163" y="609"/>
                </a:lnTo>
                <a:lnTo>
                  <a:pt x="167" y="592"/>
                </a:lnTo>
                <a:lnTo>
                  <a:pt x="174" y="567"/>
                </a:lnTo>
                <a:lnTo>
                  <a:pt x="180" y="542"/>
                </a:lnTo>
                <a:lnTo>
                  <a:pt x="183" y="519"/>
                </a:lnTo>
                <a:lnTo>
                  <a:pt x="188" y="496"/>
                </a:lnTo>
                <a:lnTo>
                  <a:pt x="190" y="474"/>
                </a:lnTo>
                <a:lnTo>
                  <a:pt x="188" y="450"/>
                </a:lnTo>
                <a:lnTo>
                  <a:pt x="183" y="428"/>
                </a:lnTo>
                <a:lnTo>
                  <a:pt x="175" y="407"/>
                </a:lnTo>
                <a:lnTo>
                  <a:pt x="164" y="387"/>
                </a:lnTo>
                <a:lnTo>
                  <a:pt x="153" y="371"/>
                </a:lnTo>
                <a:lnTo>
                  <a:pt x="146" y="362"/>
                </a:lnTo>
                <a:lnTo>
                  <a:pt x="135" y="350"/>
                </a:lnTo>
                <a:lnTo>
                  <a:pt x="123" y="339"/>
                </a:lnTo>
                <a:lnTo>
                  <a:pt x="111" y="331"/>
                </a:lnTo>
                <a:lnTo>
                  <a:pt x="96" y="323"/>
                </a:lnTo>
                <a:lnTo>
                  <a:pt x="80" y="318"/>
                </a:lnTo>
                <a:lnTo>
                  <a:pt x="61" y="313"/>
                </a:lnTo>
                <a:lnTo>
                  <a:pt x="39" y="311"/>
                </a:lnTo>
                <a:lnTo>
                  <a:pt x="19" y="311"/>
                </a:lnTo>
                <a:lnTo>
                  <a:pt x="0" y="311"/>
                </a:lnTo>
                <a:close/>
              </a:path>
            </a:pathLst>
          </a:custGeom>
          <a:solidFill>
            <a:schemeClr val="accent1">
              <a:lumMod val="60000"/>
              <a:lumOff val="40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 Safety </a:t>
            </a:r>
          </a:p>
          <a:p>
            <a:pPr algn="ctr" defTabSz="457200" fontAlgn="base">
              <a:spcBef>
                <a:spcPct val="0"/>
              </a:spcBef>
              <a:spcAft>
                <a:spcPct val="0"/>
              </a:spcAft>
            </a:pPr>
            <a:r>
              <a:rPr lang="en-US" sz="2500" dirty="0">
                <a:ea typeface="ＭＳ Ｐゴシック" pitchFamily="34" charset="-128"/>
              </a:rPr>
              <a:t>Environment</a:t>
            </a:r>
          </a:p>
        </p:txBody>
      </p:sp>
      <p:sp>
        <p:nvSpPr>
          <p:cNvPr id="5" name="Freeform 4"/>
          <p:cNvSpPr>
            <a:spLocks/>
          </p:cNvSpPr>
          <p:nvPr/>
        </p:nvSpPr>
        <p:spPr bwMode="auto">
          <a:xfrm>
            <a:off x="5901848" y="3643666"/>
            <a:ext cx="3176287" cy="1985964"/>
          </a:xfrm>
          <a:custGeom>
            <a:avLst/>
            <a:gdLst>
              <a:gd name="T0" fmla="*/ 0 w 1501"/>
              <a:gd name="T1" fmla="*/ 1251 h 1251"/>
              <a:gd name="T2" fmla="*/ 1501 w 1501"/>
              <a:gd name="T3" fmla="*/ 0 h 1251"/>
              <a:gd name="T4" fmla="*/ 1361 w 1501"/>
              <a:gd name="T5" fmla="*/ 24 h 1251"/>
              <a:gd name="T6" fmla="*/ 1365 w 1501"/>
              <a:gd name="T7" fmla="*/ 65 h 1251"/>
              <a:gd name="T8" fmla="*/ 1380 w 1501"/>
              <a:gd name="T9" fmla="*/ 121 h 1251"/>
              <a:gd name="T10" fmla="*/ 1384 w 1501"/>
              <a:gd name="T11" fmla="*/ 166 h 1251"/>
              <a:gd name="T12" fmla="*/ 1375 w 1501"/>
              <a:gd name="T13" fmla="*/ 213 h 1251"/>
              <a:gd name="T14" fmla="*/ 1344 w 1501"/>
              <a:gd name="T15" fmla="*/ 253 h 1251"/>
              <a:gd name="T16" fmla="*/ 1305 w 1501"/>
              <a:gd name="T17" fmla="*/ 282 h 1251"/>
              <a:gd name="T18" fmla="*/ 1258 w 1501"/>
              <a:gd name="T19" fmla="*/ 297 h 1251"/>
              <a:gd name="T20" fmla="*/ 1191 w 1501"/>
              <a:gd name="T21" fmla="*/ 295 h 1251"/>
              <a:gd name="T22" fmla="*/ 1147 w 1501"/>
              <a:gd name="T23" fmla="*/ 286 h 1251"/>
              <a:gd name="T24" fmla="*/ 1103 w 1501"/>
              <a:gd name="T25" fmla="*/ 254 h 1251"/>
              <a:gd name="T26" fmla="*/ 1073 w 1501"/>
              <a:gd name="T27" fmla="*/ 216 h 1251"/>
              <a:gd name="T28" fmla="*/ 1060 w 1501"/>
              <a:gd name="T29" fmla="*/ 174 h 1251"/>
              <a:gd name="T30" fmla="*/ 1062 w 1501"/>
              <a:gd name="T31" fmla="*/ 129 h 1251"/>
              <a:gd name="T32" fmla="*/ 1073 w 1501"/>
              <a:gd name="T33" fmla="*/ 88 h 1251"/>
              <a:gd name="T34" fmla="*/ 1083 w 1501"/>
              <a:gd name="T35" fmla="*/ 45 h 1251"/>
              <a:gd name="T36" fmla="*/ 1078 w 1501"/>
              <a:gd name="T37" fmla="*/ 5 h 1251"/>
              <a:gd name="T38" fmla="*/ 829 w 1501"/>
              <a:gd name="T39" fmla="*/ 49 h 1251"/>
              <a:gd name="T40" fmla="*/ 825 w 1501"/>
              <a:gd name="T41" fmla="*/ 105 h 1251"/>
              <a:gd name="T42" fmla="*/ 822 w 1501"/>
              <a:gd name="T43" fmla="*/ 152 h 1251"/>
              <a:gd name="T44" fmla="*/ 811 w 1501"/>
              <a:gd name="T45" fmla="*/ 192 h 1251"/>
              <a:gd name="T46" fmla="*/ 789 w 1501"/>
              <a:gd name="T47" fmla="*/ 218 h 1251"/>
              <a:gd name="T48" fmla="*/ 757 w 1501"/>
              <a:gd name="T49" fmla="*/ 233 h 1251"/>
              <a:gd name="T50" fmla="*/ 722 w 1501"/>
              <a:gd name="T51" fmla="*/ 237 h 1251"/>
              <a:gd name="T52" fmla="*/ 680 w 1501"/>
              <a:gd name="T53" fmla="*/ 234 h 1251"/>
              <a:gd name="T54" fmla="*/ 641 w 1501"/>
              <a:gd name="T55" fmla="*/ 232 h 1251"/>
              <a:gd name="T56" fmla="*/ 591 w 1501"/>
              <a:gd name="T57" fmla="*/ 229 h 1251"/>
              <a:gd name="T58" fmla="*/ 547 w 1501"/>
              <a:gd name="T59" fmla="*/ 234 h 1251"/>
              <a:gd name="T60" fmla="*/ 507 w 1501"/>
              <a:gd name="T61" fmla="*/ 250 h 1251"/>
              <a:gd name="T62" fmla="*/ 477 w 1501"/>
              <a:gd name="T63" fmla="*/ 278 h 1251"/>
              <a:gd name="T64" fmla="*/ 460 w 1501"/>
              <a:gd name="T65" fmla="*/ 313 h 1251"/>
              <a:gd name="T66" fmla="*/ 460 w 1501"/>
              <a:gd name="T67" fmla="*/ 353 h 1251"/>
              <a:gd name="T68" fmla="*/ 460 w 1501"/>
              <a:gd name="T69" fmla="*/ 397 h 1251"/>
              <a:gd name="T70" fmla="*/ 451 w 1501"/>
              <a:gd name="T71" fmla="*/ 433 h 1251"/>
              <a:gd name="T72" fmla="*/ 433 w 1501"/>
              <a:gd name="T73" fmla="*/ 462 h 1251"/>
              <a:gd name="T74" fmla="*/ 396 w 1501"/>
              <a:gd name="T75" fmla="*/ 482 h 1251"/>
              <a:gd name="T76" fmla="*/ 355 w 1501"/>
              <a:gd name="T77" fmla="*/ 494 h 1251"/>
              <a:gd name="T78" fmla="*/ 307 w 1501"/>
              <a:gd name="T79" fmla="*/ 504 h 1251"/>
              <a:gd name="T80" fmla="*/ 265 w 1501"/>
              <a:gd name="T81" fmla="*/ 515 h 1251"/>
              <a:gd name="T82" fmla="*/ 228 w 1501"/>
              <a:gd name="T83" fmla="*/ 530 h 1251"/>
              <a:gd name="T84" fmla="*/ 201 w 1501"/>
              <a:gd name="T85" fmla="*/ 551 h 1251"/>
              <a:gd name="T86" fmla="*/ 178 w 1501"/>
              <a:gd name="T87" fmla="*/ 584 h 1251"/>
              <a:gd name="T88" fmla="*/ 166 w 1501"/>
              <a:gd name="T89" fmla="*/ 626 h 1251"/>
              <a:gd name="T90" fmla="*/ 171 w 1501"/>
              <a:gd name="T91" fmla="*/ 668 h 1251"/>
              <a:gd name="T92" fmla="*/ 184 w 1501"/>
              <a:gd name="T93" fmla="*/ 721 h 1251"/>
              <a:gd name="T94" fmla="*/ 192 w 1501"/>
              <a:gd name="T95" fmla="*/ 767 h 1251"/>
              <a:gd name="T96" fmla="*/ 189 w 1501"/>
              <a:gd name="T97" fmla="*/ 810 h 1251"/>
              <a:gd name="T98" fmla="*/ 178 w 1501"/>
              <a:gd name="T99" fmla="*/ 850 h 1251"/>
              <a:gd name="T100" fmla="*/ 160 w 1501"/>
              <a:gd name="T101" fmla="*/ 890 h 1251"/>
              <a:gd name="T102" fmla="*/ 130 w 1501"/>
              <a:gd name="T103" fmla="*/ 934 h 1251"/>
              <a:gd name="T104" fmla="*/ 100 w 1501"/>
              <a:gd name="T105" fmla="*/ 962 h 1251"/>
              <a:gd name="T106" fmla="*/ 69 w 1501"/>
              <a:gd name="T107" fmla="*/ 980 h 1251"/>
              <a:gd name="T108" fmla="*/ 22 w 1501"/>
              <a:gd name="T109" fmla="*/ 989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1" h="1251">
                <a:moveTo>
                  <a:pt x="0" y="989"/>
                </a:moveTo>
                <a:lnTo>
                  <a:pt x="0" y="1251"/>
                </a:lnTo>
                <a:lnTo>
                  <a:pt x="1500" y="1251"/>
                </a:lnTo>
                <a:lnTo>
                  <a:pt x="1501" y="0"/>
                </a:lnTo>
                <a:lnTo>
                  <a:pt x="1367" y="0"/>
                </a:lnTo>
                <a:lnTo>
                  <a:pt x="1361" y="24"/>
                </a:lnTo>
                <a:lnTo>
                  <a:pt x="1361" y="41"/>
                </a:lnTo>
                <a:lnTo>
                  <a:pt x="1365" y="65"/>
                </a:lnTo>
                <a:lnTo>
                  <a:pt x="1372" y="90"/>
                </a:lnTo>
                <a:lnTo>
                  <a:pt x="1380" y="121"/>
                </a:lnTo>
                <a:lnTo>
                  <a:pt x="1384" y="145"/>
                </a:lnTo>
                <a:lnTo>
                  <a:pt x="1384" y="166"/>
                </a:lnTo>
                <a:lnTo>
                  <a:pt x="1381" y="190"/>
                </a:lnTo>
                <a:lnTo>
                  <a:pt x="1375" y="213"/>
                </a:lnTo>
                <a:lnTo>
                  <a:pt x="1361" y="234"/>
                </a:lnTo>
                <a:lnTo>
                  <a:pt x="1344" y="253"/>
                </a:lnTo>
                <a:lnTo>
                  <a:pt x="1326" y="270"/>
                </a:lnTo>
                <a:lnTo>
                  <a:pt x="1305" y="282"/>
                </a:lnTo>
                <a:lnTo>
                  <a:pt x="1280" y="291"/>
                </a:lnTo>
                <a:lnTo>
                  <a:pt x="1258" y="297"/>
                </a:lnTo>
                <a:lnTo>
                  <a:pt x="1227" y="298"/>
                </a:lnTo>
                <a:lnTo>
                  <a:pt x="1191" y="295"/>
                </a:lnTo>
                <a:lnTo>
                  <a:pt x="1167" y="291"/>
                </a:lnTo>
                <a:lnTo>
                  <a:pt x="1147" y="286"/>
                </a:lnTo>
                <a:lnTo>
                  <a:pt x="1127" y="274"/>
                </a:lnTo>
                <a:lnTo>
                  <a:pt x="1103" y="254"/>
                </a:lnTo>
                <a:lnTo>
                  <a:pt x="1087" y="236"/>
                </a:lnTo>
                <a:lnTo>
                  <a:pt x="1073" y="216"/>
                </a:lnTo>
                <a:lnTo>
                  <a:pt x="1065" y="194"/>
                </a:lnTo>
                <a:lnTo>
                  <a:pt x="1060" y="174"/>
                </a:lnTo>
                <a:lnTo>
                  <a:pt x="1060" y="152"/>
                </a:lnTo>
                <a:lnTo>
                  <a:pt x="1062" y="129"/>
                </a:lnTo>
                <a:lnTo>
                  <a:pt x="1067" y="108"/>
                </a:lnTo>
                <a:lnTo>
                  <a:pt x="1073" y="88"/>
                </a:lnTo>
                <a:lnTo>
                  <a:pt x="1079" y="67"/>
                </a:lnTo>
                <a:lnTo>
                  <a:pt x="1083" y="45"/>
                </a:lnTo>
                <a:lnTo>
                  <a:pt x="1083" y="27"/>
                </a:lnTo>
                <a:lnTo>
                  <a:pt x="1078" y="5"/>
                </a:lnTo>
                <a:lnTo>
                  <a:pt x="826" y="5"/>
                </a:lnTo>
                <a:lnTo>
                  <a:pt x="829" y="49"/>
                </a:lnTo>
                <a:lnTo>
                  <a:pt x="826" y="80"/>
                </a:lnTo>
                <a:lnTo>
                  <a:pt x="825" y="105"/>
                </a:lnTo>
                <a:lnTo>
                  <a:pt x="825" y="128"/>
                </a:lnTo>
                <a:lnTo>
                  <a:pt x="822" y="152"/>
                </a:lnTo>
                <a:lnTo>
                  <a:pt x="817" y="176"/>
                </a:lnTo>
                <a:lnTo>
                  <a:pt x="811" y="192"/>
                </a:lnTo>
                <a:lnTo>
                  <a:pt x="802" y="206"/>
                </a:lnTo>
                <a:lnTo>
                  <a:pt x="789" y="218"/>
                </a:lnTo>
                <a:lnTo>
                  <a:pt x="774" y="228"/>
                </a:lnTo>
                <a:lnTo>
                  <a:pt x="757" y="233"/>
                </a:lnTo>
                <a:lnTo>
                  <a:pt x="739" y="236"/>
                </a:lnTo>
                <a:lnTo>
                  <a:pt x="722" y="237"/>
                </a:lnTo>
                <a:lnTo>
                  <a:pt x="700" y="237"/>
                </a:lnTo>
                <a:lnTo>
                  <a:pt x="680" y="234"/>
                </a:lnTo>
                <a:lnTo>
                  <a:pt x="663" y="233"/>
                </a:lnTo>
                <a:lnTo>
                  <a:pt x="641" y="232"/>
                </a:lnTo>
                <a:lnTo>
                  <a:pt x="617" y="229"/>
                </a:lnTo>
                <a:lnTo>
                  <a:pt x="591" y="229"/>
                </a:lnTo>
                <a:lnTo>
                  <a:pt x="569" y="232"/>
                </a:lnTo>
                <a:lnTo>
                  <a:pt x="547" y="234"/>
                </a:lnTo>
                <a:lnTo>
                  <a:pt x="524" y="241"/>
                </a:lnTo>
                <a:lnTo>
                  <a:pt x="507" y="250"/>
                </a:lnTo>
                <a:lnTo>
                  <a:pt x="489" y="262"/>
                </a:lnTo>
                <a:lnTo>
                  <a:pt x="477" y="278"/>
                </a:lnTo>
                <a:lnTo>
                  <a:pt x="466" y="295"/>
                </a:lnTo>
                <a:lnTo>
                  <a:pt x="460" y="313"/>
                </a:lnTo>
                <a:lnTo>
                  <a:pt x="458" y="333"/>
                </a:lnTo>
                <a:lnTo>
                  <a:pt x="460" y="353"/>
                </a:lnTo>
                <a:lnTo>
                  <a:pt x="462" y="374"/>
                </a:lnTo>
                <a:lnTo>
                  <a:pt x="460" y="397"/>
                </a:lnTo>
                <a:lnTo>
                  <a:pt x="457" y="414"/>
                </a:lnTo>
                <a:lnTo>
                  <a:pt x="451" y="433"/>
                </a:lnTo>
                <a:lnTo>
                  <a:pt x="444" y="450"/>
                </a:lnTo>
                <a:lnTo>
                  <a:pt x="433" y="462"/>
                </a:lnTo>
                <a:lnTo>
                  <a:pt x="416" y="474"/>
                </a:lnTo>
                <a:lnTo>
                  <a:pt x="396" y="482"/>
                </a:lnTo>
                <a:lnTo>
                  <a:pt x="375" y="488"/>
                </a:lnTo>
                <a:lnTo>
                  <a:pt x="355" y="494"/>
                </a:lnTo>
                <a:lnTo>
                  <a:pt x="335" y="499"/>
                </a:lnTo>
                <a:lnTo>
                  <a:pt x="307" y="504"/>
                </a:lnTo>
                <a:lnTo>
                  <a:pt x="287" y="508"/>
                </a:lnTo>
                <a:lnTo>
                  <a:pt x="265" y="515"/>
                </a:lnTo>
                <a:lnTo>
                  <a:pt x="246" y="522"/>
                </a:lnTo>
                <a:lnTo>
                  <a:pt x="228" y="530"/>
                </a:lnTo>
                <a:lnTo>
                  <a:pt x="214" y="540"/>
                </a:lnTo>
                <a:lnTo>
                  <a:pt x="201" y="551"/>
                </a:lnTo>
                <a:lnTo>
                  <a:pt x="187" y="568"/>
                </a:lnTo>
                <a:lnTo>
                  <a:pt x="178" y="584"/>
                </a:lnTo>
                <a:lnTo>
                  <a:pt x="170" y="603"/>
                </a:lnTo>
                <a:lnTo>
                  <a:pt x="166" y="626"/>
                </a:lnTo>
                <a:lnTo>
                  <a:pt x="169" y="647"/>
                </a:lnTo>
                <a:lnTo>
                  <a:pt x="171" y="668"/>
                </a:lnTo>
                <a:lnTo>
                  <a:pt x="178" y="693"/>
                </a:lnTo>
                <a:lnTo>
                  <a:pt x="184" y="721"/>
                </a:lnTo>
                <a:lnTo>
                  <a:pt x="189" y="747"/>
                </a:lnTo>
                <a:lnTo>
                  <a:pt x="192" y="767"/>
                </a:lnTo>
                <a:lnTo>
                  <a:pt x="192" y="785"/>
                </a:lnTo>
                <a:lnTo>
                  <a:pt x="189" y="810"/>
                </a:lnTo>
                <a:lnTo>
                  <a:pt x="183" y="832"/>
                </a:lnTo>
                <a:lnTo>
                  <a:pt x="178" y="850"/>
                </a:lnTo>
                <a:lnTo>
                  <a:pt x="170" y="868"/>
                </a:lnTo>
                <a:lnTo>
                  <a:pt x="160" y="890"/>
                </a:lnTo>
                <a:lnTo>
                  <a:pt x="145" y="916"/>
                </a:lnTo>
                <a:lnTo>
                  <a:pt x="130" y="934"/>
                </a:lnTo>
                <a:lnTo>
                  <a:pt x="114" y="949"/>
                </a:lnTo>
                <a:lnTo>
                  <a:pt x="100" y="962"/>
                </a:lnTo>
                <a:lnTo>
                  <a:pt x="84" y="973"/>
                </a:lnTo>
                <a:lnTo>
                  <a:pt x="69" y="980"/>
                </a:lnTo>
                <a:lnTo>
                  <a:pt x="47" y="985"/>
                </a:lnTo>
                <a:lnTo>
                  <a:pt x="22" y="989"/>
                </a:lnTo>
                <a:lnTo>
                  <a:pt x="0" y="989"/>
                </a:lnTo>
                <a:close/>
              </a:path>
            </a:pathLst>
          </a:custGeom>
          <a:solidFill>
            <a:schemeClr val="accent5">
              <a:lumMod val="75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Records </a:t>
            </a:r>
          </a:p>
          <a:p>
            <a:pPr algn="ctr" defTabSz="457200" fontAlgn="base">
              <a:spcBef>
                <a:spcPct val="0"/>
              </a:spcBef>
              <a:spcAft>
                <a:spcPct val="0"/>
              </a:spcAft>
            </a:pPr>
            <a:r>
              <a:rPr lang="en-US" sz="2500" dirty="0">
                <a:ea typeface="ＭＳ Ｐゴシック" pitchFamily="34" charset="-128"/>
              </a:rPr>
              <a:t>Management</a:t>
            </a:r>
          </a:p>
        </p:txBody>
      </p:sp>
      <p:sp>
        <p:nvSpPr>
          <p:cNvPr id="6" name="Freeform 5"/>
          <p:cNvSpPr>
            <a:spLocks/>
          </p:cNvSpPr>
          <p:nvPr/>
        </p:nvSpPr>
        <p:spPr bwMode="auto">
          <a:xfrm>
            <a:off x="2761535" y="3258576"/>
            <a:ext cx="3159361" cy="2370138"/>
          </a:xfrm>
          <a:custGeom>
            <a:avLst/>
            <a:gdLst>
              <a:gd name="T0" fmla="*/ 1493 w 1493"/>
              <a:gd name="T1" fmla="*/ 1493 h 1493"/>
              <a:gd name="T2" fmla="*/ 0 w 1493"/>
              <a:gd name="T3" fmla="*/ 301 h 1493"/>
              <a:gd name="T4" fmla="*/ 135 w 1493"/>
              <a:gd name="T5" fmla="*/ 290 h 1493"/>
              <a:gd name="T6" fmla="*/ 139 w 1493"/>
              <a:gd name="T7" fmla="*/ 263 h 1493"/>
              <a:gd name="T8" fmla="*/ 132 w 1493"/>
              <a:gd name="T9" fmla="*/ 230 h 1493"/>
              <a:gd name="T10" fmla="*/ 122 w 1493"/>
              <a:gd name="T11" fmla="*/ 190 h 1493"/>
              <a:gd name="T12" fmla="*/ 115 w 1493"/>
              <a:gd name="T13" fmla="*/ 152 h 1493"/>
              <a:gd name="T14" fmla="*/ 117 w 1493"/>
              <a:gd name="T15" fmla="*/ 116 h 1493"/>
              <a:gd name="T16" fmla="*/ 128 w 1493"/>
              <a:gd name="T17" fmla="*/ 80 h 1493"/>
              <a:gd name="T18" fmla="*/ 153 w 1493"/>
              <a:gd name="T19" fmla="*/ 51 h 1493"/>
              <a:gd name="T20" fmla="*/ 180 w 1493"/>
              <a:gd name="T21" fmla="*/ 27 h 1493"/>
              <a:gd name="T22" fmla="*/ 214 w 1493"/>
              <a:gd name="T23" fmla="*/ 9 h 1493"/>
              <a:gd name="T24" fmla="*/ 256 w 1493"/>
              <a:gd name="T25" fmla="*/ 1 h 1493"/>
              <a:gd name="T26" fmla="*/ 294 w 1493"/>
              <a:gd name="T27" fmla="*/ 0 h 1493"/>
              <a:gd name="T28" fmla="*/ 326 w 1493"/>
              <a:gd name="T29" fmla="*/ 4 h 1493"/>
              <a:gd name="T30" fmla="*/ 360 w 1493"/>
              <a:gd name="T31" fmla="*/ 15 h 1493"/>
              <a:gd name="T32" fmla="*/ 387 w 1493"/>
              <a:gd name="T33" fmla="*/ 33 h 1493"/>
              <a:gd name="T34" fmla="*/ 413 w 1493"/>
              <a:gd name="T35" fmla="*/ 61 h 1493"/>
              <a:gd name="T36" fmla="*/ 434 w 1493"/>
              <a:gd name="T37" fmla="*/ 92 h 1493"/>
              <a:gd name="T38" fmla="*/ 445 w 1493"/>
              <a:gd name="T39" fmla="*/ 134 h 1493"/>
              <a:gd name="T40" fmla="*/ 440 w 1493"/>
              <a:gd name="T41" fmla="*/ 177 h 1493"/>
              <a:gd name="T42" fmla="*/ 430 w 1493"/>
              <a:gd name="T43" fmla="*/ 220 h 1493"/>
              <a:gd name="T44" fmla="*/ 420 w 1493"/>
              <a:gd name="T45" fmla="*/ 262 h 1493"/>
              <a:gd name="T46" fmla="*/ 422 w 1493"/>
              <a:gd name="T47" fmla="*/ 282 h 1493"/>
              <a:gd name="T48" fmla="*/ 673 w 1493"/>
              <a:gd name="T49" fmla="*/ 293 h 1493"/>
              <a:gd name="T50" fmla="*/ 667 w 1493"/>
              <a:gd name="T51" fmla="*/ 371 h 1493"/>
              <a:gd name="T52" fmla="*/ 669 w 1493"/>
              <a:gd name="T53" fmla="*/ 418 h 1493"/>
              <a:gd name="T54" fmla="*/ 676 w 1493"/>
              <a:gd name="T55" fmla="*/ 466 h 1493"/>
              <a:gd name="T56" fmla="*/ 693 w 1493"/>
              <a:gd name="T57" fmla="*/ 495 h 1493"/>
              <a:gd name="T58" fmla="*/ 720 w 1493"/>
              <a:gd name="T59" fmla="*/ 516 h 1493"/>
              <a:gd name="T60" fmla="*/ 754 w 1493"/>
              <a:gd name="T61" fmla="*/ 526 h 1493"/>
              <a:gd name="T62" fmla="*/ 792 w 1493"/>
              <a:gd name="T63" fmla="*/ 527 h 1493"/>
              <a:gd name="T64" fmla="*/ 830 w 1493"/>
              <a:gd name="T65" fmla="*/ 523 h 1493"/>
              <a:gd name="T66" fmla="*/ 877 w 1493"/>
              <a:gd name="T67" fmla="*/ 518 h 1493"/>
              <a:gd name="T68" fmla="*/ 925 w 1493"/>
              <a:gd name="T69" fmla="*/ 520 h 1493"/>
              <a:gd name="T70" fmla="*/ 969 w 1493"/>
              <a:gd name="T71" fmla="*/ 532 h 1493"/>
              <a:gd name="T72" fmla="*/ 1005 w 1493"/>
              <a:gd name="T73" fmla="*/ 554 h 1493"/>
              <a:gd name="T74" fmla="*/ 1027 w 1493"/>
              <a:gd name="T75" fmla="*/ 585 h 1493"/>
              <a:gd name="T76" fmla="*/ 1036 w 1493"/>
              <a:gd name="T77" fmla="*/ 623 h 1493"/>
              <a:gd name="T78" fmla="*/ 1032 w 1493"/>
              <a:gd name="T79" fmla="*/ 665 h 1493"/>
              <a:gd name="T80" fmla="*/ 1036 w 1493"/>
              <a:gd name="T81" fmla="*/ 705 h 1493"/>
              <a:gd name="T82" fmla="*/ 1050 w 1493"/>
              <a:gd name="T83" fmla="*/ 740 h 1493"/>
              <a:gd name="T84" fmla="*/ 1076 w 1493"/>
              <a:gd name="T85" fmla="*/ 764 h 1493"/>
              <a:gd name="T86" fmla="*/ 1119 w 1493"/>
              <a:gd name="T87" fmla="*/ 778 h 1493"/>
              <a:gd name="T88" fmla="*/ 1159 w 1493"/>
              <a:gd name="T89" fmla="*/ 789 h 1493"/>
              <a:gd name="T90" fmla="*/ 1207 w 1493"/>
              <a:gd name="T91" fmla="*/ 798 h 1493"/>
              <a:gd name="T92" fmla="*/ 1247 w 1493"/>
              <a:gd name="T93" fmla="*/ 812 h 1493"/>
              <a:gd name="T94" fmla="*/ 1279 w 1493"/>
              <a:gd name="T95" fmla="*/ 830 h 1493"/>
              <a:gd name="T96" fmla="*/ 1307 w 1493"/>
              <a:gd name="T97" fmla="*/ 858 h 1493"/>
              <a:gd name="T98" fmla="*/ 1323 w 1493"/>
              <a:gd name="T99" fmla="*/ 892 h 1493"/>
              <a:gd name="T100" fmla="*/ 1325 w 1493"/>
              <a:gd name="T101" fmla="*/ 938 h 1493"/>
              <a:gd name="T102" fmla="*/ 1316 w 1493"/>
              <a:gd name="T103" fmla="*/ 983 h 1493"/>
              <a:gd name="T104" fmla="*/ 1303 w 1493"/>
              <a:gd name="T105" fmla="*/ 1037 h 1493"/>
              <a:gd name="T106" fmla="*/ 1300 w 1493"/>
              <a:gd name="T107" fmla="*/ 1075 h 1493"/>
              <a:gd name="T108" fmla="*/ 1309 w 1493"/>
              <a:gd name="T109" fmla="*/ 1122 h 1493"/>
              <a:gd name="T110" fmla="*/ 1326 w 1493"/>
              <a:gd name="T111" fmla="*/ 1154 h 1493"/>
              <a:gd name="T112" fmla="*/ 1353 w 1493"/>
              <a:gd name="T113" fmla="*/ 1188 h 1493"/>
              <a:gd name="T114" fmla="*/ 1389 w 1493"/>
              <a:gd name="T115" fmla="*/ 1215 h 1493"/>
              <a:gd name="T116" fmla="*/ 1427 w 1493"/>
              <a:gd name="T117" fmla="*/ 1227 h 1493"/>
              <a:gd name="T118" fmla="*/ 1470 w 1493"/>
              <a:gd name="T119" fmla="*/ 123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3" h="1493">
                <a:moveTo>
                  <a:pt x="1493" y="1230"/>
                </a:moveTo>
                <a:lnTo>
                  <a:pt x="1493" y="1493"/>
                </a:lnTo>
                <a:lnTo>
                  <a:pt x="0" y="1493"/>
                </a:lnTo>
                <a:lnTo>
                  <a:pt x="0" y="301"/>
                </a:lnTo>
                <a:lnTo>
                  <a:pt x="129" y="301"/>
                </a:lnTo>
                <a:lnTo>
                  <a:pt x="135" y="290"/>
                </a:lnTo>
                <a:lnTo>
                  <a:pt x="139" y="275"/>
                </a:lnTo>
                <a:lnTo>
                  <a:pt x="139" y="263"/>
                </a:lnTo>
                <a:lnTo>
                  <a:pt x="137" y="249"/>
                </a:lnTo>
                <a:lnTo>
                  <a:pt x="132" y="230"/>
                </a:lnTo>
                <a:lnTo>
                  <a:pt x="127" y="206"/>
                </a:lnTo>
                <a:lnTo>
                  <a:pt x="122" y="190"/>
                </a:lnTo>
                <a:lnTo>
                  <a:pt x="117" y="170"/>
                </a:lnTo>
                <a:lnTo>
                  <a:pt x="115" y="152"/>
                </a:lnTo>
                <a:lnTo>
                  <a:pt x="115" y="133"/>
                </a:lnTo>
                <a:lnTo>
                  <a:pt x="117" y="116"/>
                </a:lnTo>
                <a:lnTo>
                  <a:pt x="122" y="97"/>
                </a:lnTo>
                <a:lnTo>
                  <a:pt x="128" y="80"/>
                </a:lnTo>
                <a:lnTo>
                  <a:pt x="139" y="67"/>
                </a:lnTo>
                <a:lnTo>
                  <a:pt x="153" y="51"/>
                </a:lnTo>
                <a:lnTo>
                  <a:pt x="166" y="39"/>
                </a:lnTo>
                <a:lnTo>
                  <a:pt x="180" y="27"/>
                </a:lnTo>
                <a:lnTo>
                  <a:pt x="196" y="17"/>
                </a:lnTo>
                <a:lnTo>
                  <a:pt x="214" y="9"/>
                </a:lnTo>
                <a:lnTo>
                  <a:pt x="234" y="4"/>
                </a:lnTo>
                <a:lnTo>
                  <a:pt x="256" y="1"/>
                </a:lnTo>
                <a:lnTo>
                  <a:pt x="275" y="0"/>
                </a:lnTo>
                <a:lnTo>
                  <a:pt x="294" y="0"/>
                </a:lnTo>
                <a:lnTo>
                  <a:pt x="312" y="1"/>
                </a:lnTo>
                <a:lnTo>
                  <a:pt x="326" y="4"/>
                </a:lnTo>
                <a:lnTo>
                  <a:pt x="343" y="9"/>
                </a:lnTo>
                <a:lnTo>
                  <a:pt x="360" y="15"/>
                </a:lnTo>
                <a:lnTo>
                  <a:pt x="373" y="23"/>
                </a:lnTo>
                <a:lnTo>
                  <a:pt x="387" y="33"/>
                </a:lnTo>
                <a:lnTo>
                  <a:pt x="400" y="47"/>
                </a:lnTo>
                <a:lnTo>
                  <a:pt x="413" y="61"/>
                </a:lnTo>
                <a:lnTo>
                  <a:pt x="425" y="76"/>
                </a:lnTo>
                <a:lnTo>
                  <a:pt x="434" y="92"/>
                </a:lnTo>
                <a:lnTo>
                  <a:pt x="440" y="112"/>
                </a:lnTo>
                <a:lnTo>
                  <a:pt x="445" y="134"/>
                </a:lnTo>
                <a:lnTo>
                  <a:pt x="445" y="156"/>
                </a:lnTo>
                <a:lnTo>
                  <a:pt x="440" y="177"/>
                </a:lnTo>
                <a:lnTo>
                  <a:pt x="435" y="198"/>
                </a:lnTo>
                <a:lnTo>
                  <a:pt x="430" y="220"/>
                </a:lnTo>
                <a:lnTo>
                  <a:pt x="423" y="244"/>
                </a:lnTo>
                <a:lnTo>
                  <a:pt x="420" y="262"/>
                </a:lnTo>
                <a:lnTo>
                  <a:pt x="420" y="273"/>
                </a:lnTo>
                <a:lnTo>
                  <a:pt x="422" y="282"/>
                </a:lnTo>
                <a:lnTo>
                  <a:pt x="426" y="293"/>
                </a:lnTo>
                <a:lnTo>
                  <a:pt x="673" y="293"/>
                </a:lnTo>
                <a:lnTo>
                  <a:pt x="668" y="342"/>
                </a:lnTo>
                <a:lnTo>
                  <a:pt x="667" y="371"/>
                </a:lnTo>
                <a:lnTo>
                  <a:pt x="668" y="395"/>
                </a:lnTo>
                <a:lnTo>
                  <a:pt x="669" y="418"/>
                </a:lnTo>
                <a:lnTo>
                  <a:pt x="672" y="442"/>
                </a:lnTo>
                <a:lnTo>
                  <a:pt x="676" y="466"/>
                </a:lnTo>
                <a:lnTo>
                  <a:pt x="684" y="482"/>
                </a:lnTo>
                <a:lnTo>
                  <a:pt x="693" y="495"/>
                </a:lnTo>
                <a:lnTo>
                  <a:pt x="704" y="507"/>
                </a:lnTo>
                <a:lnTo>
                  <a:pt x="720" y="516"/>
                </a:lnTo>
                <a:lnTo>
                  <a:pt x="737" y="523"/>
                </a:lnTo>
                <a:lnTo>
                  <a:pt x="754" y="526"/>
                </a:lnTo>
                <a:lnTo>
                  <a:pt x="772" y="527"/>
                </a:lnTo>
                <a:lnTo>
                  <a:pt x="792" y="527"/>
                </a:lnTo>
                <a:lnTo>
                  <a:pt x="814" y="524"/>
                </a:lnTo>
                <a:lnTo>
                  <a:pt x="830" y="523"/>
                </a:lnTo>
                <a:lnTo>
                  <a:pt x="853" y="520"/>
                </a:lnTo>
                <a:lnTo>
                  <a:pt x="877" y="518"/>
                </a:lnTo>
                <a:lnTo>
                  <a:pt x="903" y="518"/>
                </a:lnTo>
                <a:lnTo>
                  <a:pt x="925" y="520"/>
                </a:lnTo>
                <a:lnTo>
                  <a:pt x="947" y="524"/>
                </a:lnTo>
                <a:lnTo>
                  <a:pt x="969" y="532"/>
                </a:lnTo>
                <a:lnTo>
                  <a:pt x="987" y="540"/>
                </a:lnTo>
                <a:lnTo>
                  <a:pt x="1005" y="554"/>
                </a:lnTo>
                <a:lnTo>
                  <a:pt x="1016" y="568"/>
                </a:lnTo>
                <a:lnTo>
                  <a:pt x="1027" y="585"/>
                </a:lnTo>
                <a:lnTo>
                  <a:pt x="1033" y="604"/>
                </a:lnTo>
                <a:lnTo>
                  <a:pt x="1036" y="623"/>
                </a:lnTo>
                <a:lnTo>
                  <a:pt x="1033" y="644"/>
                </a:lnTo>
                <a:lnTo>
                  <a:pt x="1032" y="665"/>
                </a:lnTo>
                <a:lnTo>
                  <a:pt x="1033" y="687"/>
                </a:lnTo>
                <a:lnTo>
                  <a:pt x="1036" y="705"/>
                </a:lnTo>
                <a:lnTo>
                  <a:pt x="1042" y="723"/>
                </a:lnTo>
                <a:lnTo>
                  <a:pt x="1050" y="740"/>
                </a:lnTo>
                <a:lnTo>
                  <a:pt x="1061" y="752"/>
                </a:lnTo>
                <a:lnTo>
                  <a:pt x="1076" y="764"/>
                </a:lnTo>
                <a:lnTo>
                  <a:pt x="1097" y="772"/>
                </a:lnTo>
                <a:lnTo>
                  <a:pt x="1119" y="778"/>
                </a:lnTo>
                <a:lnTo>
                  <a:pt x="1137" y="784"/>
                </a:lnTo>
                <a:lnTo>
                  <a:pt x="1159" y="789"/>
                </a:lnTo>
                <a:lnTo>
                  <a:pt x="1185" y="794"/>
                </a:lnTo>
                <a:lnTo>
                  <a:pt x="1207" y="798"/>
                </a:lnTo>
                <a:lnTo>
                  <a:pt x="1229" y="805"/>
                </a:lnTo>
                <a:lnTo>
                  <a:pt x="1247" y="812"/>
                </a:lnTo>
                <a:lnTo>
                  <a:pt x="1265" y="820"/>
                </a:lnTo>
                <a:lnTo>
                  <a:pt x="1279" y="830"/>
                </a:lnTo>
                <a:lnTo>
                  <a:pt x="1291" y="841"/>
                </a:lnTo>
                <a:lnTo>
                  <a:pt x="1307" y="858"/>
                </a:lnTo>
                <a:lnTo>
                  <a:pt x="1316" y="874"/>
                </a:lnTo>
                <a:lnTo>
                  <a:pt x="1323" y="892"/>
                </a:lnTo>
                <a:lnTo>
                  <a:pt x="1327" y="915"/>
                </a:lnTo>
                <a:lnTo>
                  <a:pt x="1325" y="938"/>
                </a:lnTo>
                <a:lnTo>
                  <a:pt x="1321" y="958"/>
                </a:lnTo>
                <a:lnTo>
                  <a:pt x="1316" y="983"/>
                </a:lnTo>
                <a:lnTo>
                  <a:pt x="1309" y="1011"/>
                </a:lnTo>
                <a:lnTo>
                  <a:pt x="1303" y="1037"/>
                </a:lnTo>
                <a:lnTo>
                  <a:pt x="1300" y="1058"/>
                </a:lnTo>
                <a:lnTo>
                  <a:pt x="1300" y="1075"/>
                </a:lnTo>
                <a:lnTo>
                  <a:pt x="1304" y="1100"/>
                </a:lnTo>
                <a:lnTo>
                  <a:pt x="1309" y="1122"/>
                </a:lnTo>
                <a:lnTo>
                  <a:pt x="1317" y="1138"/>
                </a:lnTo>
                <a:lnTo>
                  <a:pt x="1326" y="1154"/>
                </a:lnTo>
                <a:lnTo>
                  <a:pt x="1339" y="1171"/>
                </a:lnTo>
                <a:lnTo>
                  <a:pt x="1353" y="1188"/>
                </a:lnTo>
                <a:lnTo>
                  <a:pt x="1370" y="1203"/>
                </a:lnTo>
                <a:lnTo>
                  <a:pt x="1389" y="1215"/>
                </a:lnTo>
                <a:lnTo>
                  <a:pt x="1408" y="1222"/>
                </a:lnTo>
                <a:lnTo>
                  <a:pt x="1427" y="1227"/>
                </a:lnTo>
                <a:lnTo>
                  <a:pt x="1446" y="1230"/>
                </a:lnTo>
                <a:lnTo>
                  <a:pt x="1470" y="1231"/>
                </a:lnTo>
                <a:lnTo>
                  <a:pt x="1493" y="1230"/>
                </a:lnTo>
                <a:close/>
              </a:path>
            </a:pathLst>
          </a:custGeom>
          <a:solidFill>
            <a:schemeClr val="accent5">
              <a:lumMod val="40000"/>
              <a:lumOff val="60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endParaRPr lang="en-US" sz="2500" dirty="0">
              <a:ea typeface="ＭＳ Ｐゴシック" pitchFamily="34" charset="-128"/>
            </a:endParaRPr>
          </a:p>
          <a:p>
            <a:pPr defTabSz="457200" fontAlgn="base">
              <a:spcBef>
                <a:spcPct val="0"/>
              </a:spcBef>
              <a:spcAft>
                <a:spcPct val="0"/>
              </a:spcAft>
            </a:pPr>
            <a:r>
              <a:rPr lang="en-US" sz="2500" dirty="0">
                <a:ea typeface="ＭＳ Ｐゴシック" pitchFamily="34" charset="-128"/>
              </a:rPr>
              <a:t> </a:t>
            </a:r>
          </a:p>
          <a:p>
            <a:pPr defTabSz="457200" fontAlgn="base">
              <a:spcBef>
                <a:spcPct val="0"/>
              </a:spcBef>
              <a:spcAft>
                <a:spcPct val="0"/>
              </a:spcAft>
            </a:pPr>
            <a:r>
              <a:rPr lang="en-US" sz="2500" dirty="0">
                <a:ea typeface="ＭＳ Ｐゴシック" pitchFamily="34" charset="-128"/>
              </a:rPr>
              <a:t>Supply Chain &amp;</a:t>
            </a:r>
          </a:p>
          <a:p>
            <a:pPr defTabSz="457200" fontAlgn="base">
              <a:spcBef>
                <a:spcPct val="0"/>
              </a:spcBef>
              <a:spcAft>
                <a:spcPct val="0"/>
              </a:spcAft>
            </a:pPr>
            <a:r>
              <a:rPr lang="en-US" sz="2500" dirty="0">
                <a:ea typeface="ＭＳ Ｐゴシック" pitchFamily="34" charset="-128"/>
              </a:rPr>
              <a:t>Device Management</a:t>
            </a:r>
          </a:p>
        </p:txBody>
      </p:sp>
      <p:sp>
        <p:nvSpPr>
          <p:cNvPr id="7" name="Freeform 6"/>
          <p:cNvSpPr>
            <a:spLocks/>
          </p:cNvSpPr>
          <p:nvPr/>
        </p:nvSpPr>
        <p:spPr bwMode="auto">
          <a:xfrm>
            <a:off x="2742509" y="1797746"/>
            <a:ext cx="3178405" cy="1981200"/>
          </a:xfrm>
          <a:custGeom>
            <a:avLst/>
            <a:gdLst>
              <a:gd name="T0" fmla="*/ 1502 w 1502"/>
              <a:gd name="T1" fmla="*/ 0 h 1248"/>
              <a:gd name="T2" fmla="*/ 0 w 1502"/>
              <a:gd name="T3" fmla="*/ 1246 h 1248"/>
              <a:gd name="T4" fmla="*/ 141 w 1502"/>
              <a:gd name="T5" fmla="*/ 1224 h 1248"/>
              <a:gd name="T6" fmla="*/ 137 w 1502"/>
              <a:gd name="T7" fmla="*/ 1183 h 1248"/>
              <a:gd name="T8" fmla="*/ 122 w 1502"/>
              <a:gd name="T9" fmla="*/ 1127 h 1248"/>
              <a:gd name="T10" fmla="*/ 117 w 1502"/>
              <a:gd name="T11" fmla="*/ 1082 h 1248"/>
              <a:gd name="T12" fmla="*/ 127 w 1502"/>
              <a:gd name="T13" fmla="*/ 1036 h 1248"/>
              <a:gd name="T14" fmla="*/ 158 w 1502"/>
              <a:gd name="T15" fmla="*/ 996 h 1248"/>
              <a:gd name="T16" fmla="*/ 197 w 1502"/>
              <a:gd name="T17" fmla="*/ 967 h 1248"/>
              <a:gd name="T18" fmla="*/ 244 w 1502"/>
              <a:gd name="T19" fmla="*/ 952 h 1248"/>
              <a:gd name="T20" fmla="*/ 311 w 1502"/>
              <a:gd name="T21" fmla="*/ 953 h 1248"/>
              <a:gd name="T22" fmla="*/ 355 w 1502"/>
              <a:gd name="T23" fmla="*/ 963 h 1248"/>
              <a:gd name="T24" fmla="*/ 399 w 1502"/>
              <a:gd name="T25" fmla="*/ 994 h 1248"/>
              <a:gd name="T26" fmla="*/ 429 w 1502"/>
              <a:gd name="T27" fmla="*/ 1033 h 1248"/>
              <a:gd name="T28" fmla="*/ 442 w 1502"/>
              <a:gd name="T29" fmla="*/ 1074 h 1248"/>
              <a:gd name="T30" fmla="*/ 440 w 1502"/>
              <a:gd name="T31" fmla="*/ 1119 h 1248"/>
              <a:gd name="T32" fmla="*/ 429 w 1502"/>
              <a:gd name="T33" fmla="*/ 1160 h 1248"/>
              <a:gd name="T34" fmla="*/ 419 w 1502"/>
              <a:gd name="T35" fmla="*/ 1203 h 1248"/>
              <a:gd name="T36" fmla="*/ 424 w 1502"/>
              <a:gd name="T37" fmla="*/ 1243 h 1248"/>
              <a:gd name="T38" fmla="*/ 673 w 1502"/>
              <a:gd name="T39" fmla="*/ 1199 h 1248"/>
              <a:gd name="T40" fmla="*/ 676 w 1502"/>
              <a:gd name="T41" fmla="*/ 1143 h 1248"/>
              <a:gd name="T42" fmla="*/ 680 w 1502"/>
              <a:gd name="T43" fmla="*/ 1097 h 1248"/>
              <a:gd name="T44" fmla="*/ 691 w 1502"/>
              <a:gd name="T45" fmla="*/ 1057 h 1248"/>
              <a:gd name="T46" fmla="*/ 713 w 1502"/>
              <a:gd name="T47" fmla="*/ 1030 h 1248"/>
              <a:gd name="T48" fmla="*/ 745 w 1502"/>
              <a:gd name="T49" fmla="*/ 1016 h 1248"/>
              <a:gd name="T50" fmla="*/ 780 w 1502"/>
              <a:gd name="T51" fmla="*/ 1012 h 1248"/>
              <a:gd name="T52" fmla="*/ 822 w 1502"/>
              <a:gd name="T53" fmla="*/ 1013 h 1248"/>
              <a:gd name="T54" fmla="*/ 861 w 1502"/>
              <a:gd name="T55" fmla="*/ 1017 h 1248"/>
              <a:gd name="T56" fmla="*/ 911 w 1502"/>
              <a:gd name="T57" fmla="*/ 1020 h 1248"/>
              <a:gd name="T58" fmla="*/ 955 w 1502"/>
              <a:gd name="T59" fmla="*/ 1013 h 1248"/>
              <a:gd name="T60" fmla="*/ 995 w 1502"/>
              <a:gd name="T61" fmla="*/ 998 h 1248"/>
              <a:gd name="T62" fmla="*/ 1025 w 1502"/>
              <a:gd name="T63" fmla="*/ 971 h 1248"/>
              <a:gd name="T64" fmla="*/ 1042 w 1502"/>
              <a:gd name="T65" fmla="*/ 936 h 1248"/>
              <a:gd name="T66" fmla="*/ 1042 w 1502"/>
              <a:gd name="T67" fmla="*/ 896 h 1248"/>
              <a:gd name="T68" fmla="*/ 1042 w 1502"/>
              <a:gd name="T69" fmla="*/ 852 h 1248"/>
              <a:gd name="T70" fmla="*/ 1051 w 1502"/>
              <a:gd name="T71" fmla="*/ 817 h 1248"/>
              <a:gd name="T72" fmla="*/ 1069 w 1502"/>
              <a:gd name="T73" fmla="*/ 787 h 1248"/>
              <a:gd name="T74" fmla="*/ 1106 w 1502"/>
              <a:gd name="T75" fmla="*/ 767 h 1248"/>
              <a:gd name="T76" fmla="*/ 1147 w 1502"/>
              <a:gd name="T77" fmla="*/ 755 h 1248"/>
              <a:gd name="T78" fmla="*/ 1195 w 1502"/>
              <a:gd name="T79" fmla="*/ 745 h 1248"/>
              <a:gd name="T80" fmla="*/ 1237 w 1502"/>
              <a:gd name="T81" fmla="*/ 734 h 1248"/>
              <a:gd name="T82" fmla="*/ 1274 w 1502"/>
              <a:gd name="T83" fmla="*/ 720 h 1248"/>
              <a:gd name="T84" fmla="*/ 1301 w 1502"/>
              <a:gd name="T85" fmla="*/ 698 h 1248"/>
              <a:gd name="T86" fmla="*/ 1324 w 1502"/>
              <a:gd name="T87" fmla="*/ 665 h 1248"/>
              <a:gd name="T88" fmla="*/ 1336 w 1502"/>
              <a:gd name="T89" fmla="*/ 623 h 1248"/>
              <a:gd name="T90" fmla="*/ 1331 w 1502"/>
              <a:gd name="T91" fmla="*/ 582 h 1248"/>
              <a:gd name="T92" fmla="*/ 1318 w 1502"/>
              <a:gd name="T93" fmla="*/ 528 h 1248"/>
              <a:gd name="T94" fmla="*/ 1310 w 1502"/>
              <a:gd name="T95" fmla="*/ 483 h 1248"/>
              <a:gd name="T96" fmla="*/ 1313 w 1502"/>
              <a:gd name="T97" fmla="*/ 439 h 1248"/>
              <a:gd name="T98" fmla="*/ 1326 w 1502"/>
              <a:gd name="T99" fmla="*/ 402 h 1248"/>
              <a:gd name="T100" fmla="*/ 1348 w 1502"/>
              <a:gd name="T101" fmla="*/ 369 h 1248"/>
              <a:gd name="T102" fmla="*/ 1380 w 1502"/>
              <a:gd name="T103" fmla="*/ 337 h 1248"/>
              <a:gd name="T104" fmla="*/ 1418 w 1502"/>
              <a:gd name="T105" fmla="*/ 319 h 1248"/>
              <a:gd name="T106" fmla="*/ 1455 w 1502"/>
              <a:gd name="T107" fmla="*/ 311 h 1248"/>
              <a:gd name="T108" fmla="*/ 1502 w 1502"/>
              <a:gd name="T109" fmla="*/ 311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2" h="1248">
                <a:moveTo>
                  <a:pt x="1502" y="311"/>
                </a:moveTo>
                <a:lnTo>
                  <a:pt x="1502" y="0"/>
                </a:lnTo>
                <a:lnTo>
                  <a:pt x="0" y="0"/>
                </a:lnTo>
                <a:lnTo>
                  <a:pt x="0" y="1246"/>
                </a:lnTo>
                <a:lnTo>
                  <a:pt x="135" y="1248"/>
                </a:lnTo>
                <a:lnTo>
                  <a:pt x="141" y="1224"/>
                </a:lnTo>
                <a:lnTo>
                  <a:pt x="141" y="1207"/>
                </a:lnTo>
                <a:lnTo>
                  <a:pt x="137" y="1183"/>
                </a:lnTo>
                <a:lnTo>
                  <a:pt x="130" y="1158"/>
                </a:lnTo>
                <a:lnTo>
                  <a:pt x="122" y="1127"/>
                </a:lnTo>
                <a:lnTo>
                  <a:pt x="118" y="1103"/>
                </a:lnTo>
                <a:lnTo>
                  <a:pt x="117" y="1082"/>
                </a:lnTo>
                <a:lnTo>
                  <a:pt x="121" y="1058"/>
                </a:lnTo>
                <a:lnTo>
                  <a:pt x="127" y="1036"/>
                </a:lnTo>
                <a:lnTo>
                  <a:pt x="141" y="1013"/>
                </a:lnTo>
                <a:lnTo>
                  <a:pt x="158" y="996"/>
                </a:lnTo>
                <a:lnTo>
                  <a:pt x="176" y="978"/>
                </a:lnTo>
                <a:lnTo>
                  <a:pt x="197" y="967"/>
                </a:lnTo>
                <a:lnTo>
                  <a:pt x="222" y="956"/>
                </a:lnTo>
                <a:lnTo>
                  <a:pt x="244" y="952"/>
                </a:lnTo>
                <a:lnTo>
                  <a:pt x="275" y="951"/>
                </a:lnTo>
                <a:lnTo>
                  <a:pt x="311" y="953"/>
                </a:lnTo>
                <a:lnTo>
                  <a:pt x="335" y="956"/>
                </a:lnTo>
                <a:lnTo>
                  <a:pt x="355" y="963"/>
                </a:lnTo>
                <a:lnTo>
                  <a:pt x="375" y="975"/>
                </a:lnTo>
                <a:lnTo>
                  <a:pt x="399" y="994"/>
                </a:lnTo>
                <a:lnTo>
                  <a:pt x="415" y="1013"/>
                </a:lnTo>
                <a:lnTo>
                  <a:pt x="429" y="1033"/>
                </a:lnTo>
                <a:lnTo>
                  <a:pt x="437" y="1054"/>
                </a:lnTo>
                <a:lnTo>
                  <a:pt x="442" y="1074"/>
                </a:lnTo>
                <a:lnTo>
                  <a:pt x="442" y="1097"/>
                </a:lnTo>
                <a:lnTo>
                  <a:pt x="440" y="1119"/>
                </a:lnTo>
                <a:lnTo>
                  <a:pt x="435" y="1140"/>
                </a:lnTo>
                <a:lnTo>
                  <a:pt x="429" y="1160"/>
                </a:lnTo>
                <a:lnTo>
                  <a:pt x="423" y="1182"/>
                </a:lnTo>
                <a:lnTo>
                  <a:pt x="419" y="1203"/>
                </a:lnTo>
                <a:lnTo>
                  <a:pt x="419" y="1221"/>
                </a:lnTo>
                <a:lnTo>
                  <a:pt x="424" y="1243"/>
                </a:lnTo>
                <a:lnTo>
                  <a:pt x="676" y="1243"/>
                </a:lnTo>
                <a:lnTo>
                  <a:pt x="673" y="1199"/>
                </a:lnTo>
                <a:lnTo>
                  <a:pt x="676" y="1167"/>
                </a:lnTo>
                <a:lnTo>
                  <a:pt x="676" y="1143"/>
                </a:lnTo>
                <a:lnTo>
                  <a:pt x="677" y="1121"/>
                </a:lnTo>
                <a:lnTo>
                  <a:pt x="680" y="1097"/>
                </a:lnTo>
                <a:lnTo>
                  <a:pt x="685" y="1073"/>
                </a:lnTo>
                <a:lnTo>
                  <a:pt x="691" y="1057"/>
                </a:lnTo>
                <a:lnTo>
                  <a:pt x="700" y="1042"/>
                </a:lnTo>
                <a:lnTo>
                  <a:pt x="713" y="1030"/>
                </a:lnTo>
                <a:lnTo>
                  <a:pt x="728" y="1021"/>
                </a:lnTo>
                <a:lnTo>
                  <a:pt x="745" y="1016"/>
                </a:lnTo>
                <a:lnTo>
                  <a:pt x="763" y="1013"/>
                </a:lnTo>
                <a:lnTo>
                  <a:pt x="780" y="1012"/>
                </a:lnTo>
                <a:lnTo>
                  <a:pt x="802" y="1012"/>
                </a:lnTo>
                <a:lnTo>
                  <a:pt x="822" y="1013"/>
                </a:lnTo>
                <a:lnTo>
                  <a:pt x="839" y="1016"/>
                </a:lnTo>
                <a:lnTo>
                  <a:pt x="861" y="1017"/>
                </a:lnTo>
                <a:lnTo>
                  <a:pt x="885" y="1020"/>
                </a:lnTo>
                <a:lnTo>
                  <a:pt x="911" y="1020"/>
                </a:lnTo>
                <a:lnTo>
                  <a:pt x="933" y="1017"/>
                </a:lnTo>
                <a:lnTo>
                  <a:pt x="955" y="1013"/>
                </a:lnTo>
                <a:lnTo>
                  <a:pt x="978" y="1008"/>
                </a:lnTo>
                <a:lnTo>
                  <a:pt x="995" y="998"/>
                </a:lnTo>
                <a:lnTo>
                  <a:pt x="1013" y="986"/>
                </a:lnTo>
                <a:lnTo>
                  <a:pt x="1025" y="971"/>
                </a:lnTo>
                <a:lnTo>
                  <a:pt x="1036" y="953"/>
                </a:lnTo>
                <a:lnTo>
                  <a:pt x="1042" y="936"/>
                </a:lnTo>
                <a:lnTo>
                  <a:pt x="1044" y="916"/>
                </a:lnTo>
                <a:lnTo>
                  <a:pt x="1042" y="896"/>
                </a:lnTo>
                <a:lnTo>
                  <a:pt x="1040" y="875"/>
                </a:lnTo>
                <a:lnTo>
                  <a:pt x="1042" y="852"/>
                </a:lnTo>
                <a:lnTo>
                  <a:pt x="1045" y="835"/>
                </a:lnTo>
                <a:lnTo>
                  <a:pt x="1051" y="817"/>
                </a:lnTo>
                <a:lnTo>
                  <a:pt x="1058" y="799"/>
                </a:lnTo>
                <a:lnTo>
                  <a:pt x="1069" y="787"/>
                </a:lnTo>
                <a:lnTo>
                  <a:pt x="1086" y="775"/>
                </a:lnTo>
                <a:lnTo>
                  <a:pt x="1106" y="767"/>
                </a:lnTo>
                <a:lnTo>
                  <a:pt x="1127" y="761"/>
                </a:lnTo>
                <a:lnTo>
                  <a:pt x="1147" y="755"/>
                </a:lnTo>
                <a:lnTo>
                  <a:pt x="1167" y="750"/>
                </a:lnTo>
                <a:lnTo>
                  <a:pt x="1195" y="745"/>
                </a:lnTo>
                <a:lnTo>
                  <a:pt x="1215" y="741"/>
                </a:lnTo>
                <a:lnTo>
                  <a:pt x="1237" y="734"/>
                </a:lnTo>
                <a:lnTo>
                  <a:pt x="1256" y="728"/>
                </a:lnTo>
                <a:lnTo>
                  <a:pt x="1274" y="720"/>
                </a:lnTo>
                <a:lnTo>
                  <a:pt x="1288" y="709"/>
                </a:lnTo>
                <a:lnTo>
                  <a:pt x="1301" y="698"/>
                </a:lnTo>
                <a:lnTo>
                  <a:pt x="1315" y="681"/>
                </a:lnTo>
                <a:lnTo>
                  <a:pt x="1324" y="665"/>
                </a:lnTo>
                <a:lnTo>
                  <a:pt x="1332" y="647"/>
                </a:lnTo>
                <a:lnTo>
                  <a:pt x="1336" y="623"/>
                </a:lnTo>
                <a:lnTo>
                  <a:pt x="1333" y="603"/>
                </a:lnTo>
                <a:lnTo>
                  <a:pt x="1331" y="582"/>
                </a:lnTo>
                <a:lnTo>
                  <a:pt x="1324" y="556"/>
                </a:lnTo>
                <a:lnTo>
                  <a:pt x="1318" y="528"/>
                </a:lnTo>
                <a:lnTo>
                  <a:pt x="1311" y="503"/>
                </a:lnTo>
                <a:lnTo>
                  <a:pt x="1310" y="483"/>
                </a:lnTo>
                <a:lnTo>
                  <a:pt x="1310" y="465"/>
                </a:lnTo>
                <a:lnTo>
                  <a:pt x="1313" y="439"/>
                </a:lnTo>
                <a:lnTo>
                  <a:pt x="1319" y="418"/>
                </a:lnTo>
                <a:lnTo>
                  <a:pt x="1326" y="402"/>
                </a:lnTo>
                <a:lnTo>
                  <a:pt x="1335" y="386"/>
                </a:lnTo>
                <a:lnTo>
                  <a:pt x="1348" y="369"/>
                </a:lnTo>
                <a:lnTo>
                  <a:pt x="1362" y="352"/>
                </a:lnTo>
                <a:lnTo>
                  <a:pt x="1380" y="337"/>
                </a:lnTo>
                <a:lnTo>
                  <a:pt x="1400" y="325"/>
                </a:lnTo>
                <a:lnTo>
                  <a:pt x="1418" y="319"/>
                </a:lnTo>
                <a:lnTo>
                  <a:pt x="1436" y="313"/>
                </a:lnTo>
                <a:lnTo>
                  <a:pt x="1455" y="311"/>
                </a:lnTo>
                <a:lnTo>
                  <a:pt x="1479" y="311"/>
                </a:lnTo>
                <a:lnTo>
                  <a:pt x="1502" y="311"/>
                </a:lnTo>
                <a:close/>
              </a:path>
            </a:pathLst>
          </a:custGeom>
          <a:solidFill>
            <a:schemeClr val="accent4">
              <a:lumMod val="75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Quality </a:t>
            </a:r>
          </a:p>
          <a:p>
            <a:pPr algn="ctr" defTabSz="457200" fontAlgn="base">
              <a:spcBef>
                <a:spcPct val="0"/>
              </a:spcBef>
              <a:spcAft>
                <a:spcPct val="0"/>
              </a:spcAft>
            </a:pPr>
            <a:r>
              <a:rPr lang="en-US" sz="2500" dirty="0">
                <a:ea typeface="ＭＳ Ｐゴシック" pitchFamily="34" charset="-128"/>
              </a:rPr>
              <a:t>Monitoring</a:t>
            </a:r>
          </a:p>
        </p:txBody>
      </p:sp>
      <p:sp>
        <p:nvSpPr>
          <p:cNvPr id="8" name="Freeform 7"/>
          <p:cNvSpPr>
            <a:spLocks/>
          </p:cNvSpPr>
          <p:nvPr/>
        </p:nvSpPr>
        <p:spPr bwMode="auto">
          <a:xfrm>
            <a:off x="4160523" y="2293046"/>
            <a:ext cx="3519099" cy="2971800"/>
          </a:xfrm>
          <a:custGeom>
            <a:avLst/>
            <a:gdLst>
              <a:gd name="T0" fmla="*/ 516 w 1284"/>
              <a:gd name="T1" fmla="*/ 224 h 1407"/>
              <a:gd name="T2" fmla="*/ 498 w 1284"/>
              <a:gd name="T3" fmla="*/ 107 h 1407"/>
              <a:gd name="T4" fmla="*/ 561 w 1284"/>
              <a:gd name="T5" fmla="*/ 13 h 1407"/>
              <a:gd name="T6" fmla="*/ 705 w 1284"/>
              <a:gd name="T7" fmla="*/ 3 h 1407"/>
              <a:gd name="T8" fmla="*/ 776 w 1284"/>
              <a:gd name="T9" fmla="*/ 58 h 1407"/>
              <a:gd name="T10" fmla="*/ 792 w 1284"/>
              <a:gd name="T11" fmla="*/ 154 h 1407"/>
              <a:gd name="T12" fmla="*/ 778 w 1284"/>
              <a:gd name="T13" fmla="*/ 257 h 1407"/>
              <a:gd name="T14" fmla="*/ 848 w 1284"/>
              <a:gd name="T15" fmla="*/ 318 h 1407"/>
              <a:gd name="T16" fmla="*/ 954 w 1284"/>
              <a:gd name="T17" fmla="*/ 344 h 1407"/>
              <a:gd name="T18" fmla="*/ 998 w 1284"/>
              <a:gd name="T19" fmla="*/ 392 h 1407"/>
              <a:gd name="T20" fmla="*/ 1000 w 1284"/>
              <a:gd name="T21" fmla="*/ 460 h 1407"/>
              <a:gd name="T22" fmla="*/ 1041 w 1284"/>
              <a:gd name="T23" fmla="*/ 521 h 1407"/>
              <a:gd name="T24" fmla="*/ 1125 w 1284"/>
              <a:gd name="T25" fmla="*/ 533 h 1407"/>
              <a:gd name="T26" fmla="*/ 1216 w 1284"/>
              <a:gd name="T27" fmla="*/ 528 h 1407"/>
              <a:gd name="T28" fmla="*/ 1270 w 1284"/>
              <a:gd name="T29" fmla="*/ 558 h 1407"/>
              <a:gd name="T30" fmla="*/ 1283 w 1284"/>
              <a:gd name="T31" fmla="*/ 665 h 1407"/>
              <a:gd name="T32" fmla="*/ 1270 w 1284"/>
              <a:gd name="T33" fmla="*/ 808 h 1407"/>
              <a:gd name="T34" fmla="*/ 1215 w 1284"/>
              <a:gd name="T35" fmla="*/ 842 h 1407"/>
              <a:gd name="T36" fmla="*/ 1116 w 1284"/>
              <a:gd name="T37" fmla="*/ 837 h 1407"/>
              <a:gd name="T38" fmla="*/ 1043 w 1284"/>
              <a:gd name="T39" fmla="*/ 848 h 1407"/>
              <a:gd name="T40" fmla="*/ 1002 w 1284"/>
              <a:gd name="T41" fmla="*/ 890 h 1407"/>
              <a:gd name="T42" fmla="*/ 998 w 1284"/>
              <a:gd name="T43" fmla="*/ 971 h 1407"/>
              <a:gd name="T44" fmla="*/ 951 w 1284"/>
              <a:gd name="T45" fmla="*/ 1027 h 1407"/>
              <a:gd name="T46" fmla="*/ 866 w 1284"/>
              <a:gd name="T47" fmla="*/ 1046 h 1407"/>
              <a:gd name="T48" fmla="*/ 792 w 1284"/>
              <a:gd name="T49" fmla="*/ 1085 h 1407"/>
              <a:gd name="T50" fmla="*/ 776 w 1284"/>
              <a:gd name="T51" fmla="*/ 1164 h 1407"/>
              <a:gd name="T52" fmla="*/ 792 w 1284"/>
              <a:gd name="T53" fmla="*/ 1261 h 1407"/>
              <a:gd name="T54" fmla="*/ 757 w 1284"/>
              <a:gd name="T55" fmla="*/ 1353 h 1407"/>
              <a:gd name="T56" fmla="*/ 695 w 1284"/>
              <a:gd name="T57" fmla="*/ 1401 h 1407"/>
              <a:gd name="T58" fmla="*/ 599 w 1284"/>
              <a:gd name="T59" fmla="*/ 1406 h 1407"/>
              <a:gd name="T60" fmla="*/ 527 w 1284"/>
              <a:gd name="T61" fmla="*/ 1370 h 1407"/>
              <a:gd name="T62" fmla="*/ 493 w 1284"/>
              <a:gd name="T63" fmla="*/ 1301 h 1407"/>
              <a:gd name="T64" fmla="*/ 502 w 1284"/>
              <a:gd name="T65" fmla="*/ 1220 h 1407"/>
              <a:gd name="T66" fmla="*/ 507 w 1284"/>
              <a:gd name="T67" fmla="*/ 1147 h 1407"/>
              <a:gd name="T68" fmla="*/ 459 w 1284"/>
              <a:gd name="T69" fmla="*/ 1095 h 1407"/>
              <a:gd name="T70" fmla="*/ 380 w 1284"/>
              <a:gd name="T71" fmla="*/ 1075 h 1407"/>
              <a:gd name="T72" fmla="*/ 304 w 1284"/>
              <a:gd name="T73" fmla="*/ 1045 h 1407"/>
              <a:gd name="T74" fmla="*/ 284 w 1284"/>
              <a:gd name="T75" fmla="*/ 964 h 1407"/>
              <a:gd name="T76" fmla="*/ 261 w 1284"/>
              <a:gd name="T77" fmla="*/ 897 h 1407"/>
              <a:gd name="T78" fmla="*/ 185 w 1284"/>
              <a:gd name="T79" fmla="*/ 872 h 1407"/>
              <a:gd name="T80" fmla="*/ 108 w 1284"/>
              <a:gd name="T81" fmla="*/ 879 h 1407"/>
              <a:gd name="T82" fmla="*/ 25 w 1284"/>
              <a:gd name="T83" fmla="*/ 858 h 1407"/>
              <a:gd name="T84" fmla="*/ 1 w 1284"/>
              <a:gd name="T85" fmla="*/ 764 h 1407"/>
              <a:gd name="T86" fmla="*/ 6 w 1284"/>
              <a:gd name="T87" fmla="*/ 629 h 1407"/>
              <a:gd name="T88" fmla="*/ 31 w 1284"/>
              <a:gd name="T89" fmla="*/ 548 h 1407"/>
              <a:gd name="T90" fmla="*/ 95 w 1284"/>
              <a:gd name="T91" fmla="*/ 527 h 1407"/>
              <a:gd name="T92" fmla="*/ 190 w 1284"/>
              <a:gd name="T93" fmla="*/ 534 h 1407"/>
              <a:gd name="T94" fmla="*/ 274 w 1284"/>
              <a:gd name="T95" fmla="*/ 502 h 1407"/>
              <a:gd name="T96" fmla="*/ 289 w 1284"/>
              <a:gd name="T97" fmla="*/ 427 h 1407"/>
              <a:gd name="T98" fmla="*/ 320 w 1284"/>
              <a:gd name="T99" fmla="*/ 353 h 1407"/>
              <a:gd name="T100" fmla="*/ 409 w 1284"/>
              <a:gd name="T101" fmla="*/ 327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4" h="1407">
                <a:moveTo>
                  <a:pt x="489" y="294"/>
                </a:moveTo>
                <a:lnTo>
                  <a:pt x="502" y="278"/>
                </a:lnTo>
                <a:lnTo>
                  <a:pt x="511" y="263"/>
                </a:lnTo>
                <a:lnTo>
                  <a:pt x="516" y="246"/>
                </a:lnTo>
                <a:lnTo>
                  <a:pt x="516" y="224"/>
                </a:lnTo>
                <a:lnTo>
                  <a:pt x="510" y="199"/>
                </a:lnTo>
                <a:lnTo>
                  <a:pt x="505" y="178"/>
                </a:lnTo>
                <a:lnTo>
                  <a:pt x="498" y="152"/>
                </a:lnTo>
                <a:lnTo>
                  <a:pt x="495" y="124"/>
                </a:lnTo>
                <a:lnTo>
                  <a:pt x="498" y="107"/>
                </a:lnTo>
                <a:lnTo>
                  <a:pt x="503" y="86"/>
                </a:lnTo>
                <a:lnTo>
                  <a:pt x="513" y="64"/>
                </a:lnTo>
                <a:lnTo>
                  <a:pt x="527" y="43"/>
                </a:lnTo>
                <a:lnTo>
                  <a:pt x="545" y="26"/>
                </a:lnTo>
                <a:lnTo>
                  <a:pt x="561" y="13"/>
                </a:lnTo>
                <a:lnTo>
                  <a:pt x="583" y="5"/>
                </a:lnTo>
                <a:lnTo>
                  <a:pt x="609" y="1"/>
                </a:lnTo>
                <a:lnTo>
                  <a:pt x="637" y="0"/>
                </a:lnTo>
                <a:lnTo>
                  <a:pt x="675" y="0"/>
                </a:lnTo>
                <a:lnTo>
                  <a:pt x="705" y="3"/>
                </a:lnTo>
                <a:lnTo>
                  <a:pt x="722" y="9"/>
                </a:lnTo>
                <a:lnTo>
                  <a:pt x="735" y="17"/>
                </a:lnTo>
                <a:lnTo>
                  <a:pt x="749" y="26"/>
                </a:lnTo>
                <a:lnTo>
                  <a:pt x="763" y="40"/>
                </a:lnTo>
                <a:lnTo>
                  <a:pt x="776" y="58"/>
                </a:lnTo>
                <a:lnTo>
                  <a:pt x="786" y="74"/>
                </a:lnTo>
                <a:lnTo>
                  <a:pt x="791" y="88"/>
                </a:lnTo>
                <a:lnTo>
                  <a:pt x="795" y="112"/>
                </a:lnTo>
                <a:lnTo>
                  <a:pt x="795" y="133"/>
                </a:lnTo>
                <a:lnTo>
                  <a:pt x="792" y="154"/>
                </a:lnTo>
                <a:lnTo>
                  <a:pt x="788" y="170"/>
                </a:lnTo>
                <a:lnTo>
                  <a:pt x="783" y="196"/>
                </a:lnTo>
                <a:lnTo>
                  <a:pt x="776" y="223"/>
                </a:lnTo>
                <a:lnTo>
                  <a:pt x="773" y="240"/>
                </a:lnTo>
                <a:lnTo>
                  <a:pt x="778" y="257"/>
                </a:lnTo>
                <a:lnTo>
                  <a:pt x="784" y="269"/>
                </a:lnTo>
                <a:lnTo>
                  <a:pt x="795" y="285"/>
                </a:lnTo>
                <a:lnTo>
                  <a:pt x="811" y="298"/>
                </a:lnTo>
                <a:lnTo>
                  <a:pt x="826" y="309"/>
                </a:lnTo>
                <a:lnTo>
                  <a:pt x="848" y="318"/>
                </a:lnTo>
                <a:lnTo>
                  <a:pt x="870" y="324"/>
                </a:lnTo>
                <a:lnTo>
                  <a:pt x="891" y="329"/>
                </a:lnTo>
                <a:lnTo>
                  <a:pt x="913" y="332"/>
                </a:lnTo>
                <a:lnTo>
                  <a:pt x="936" y="338"/>
                </a:lnTo>
                <a:lnTo>
                  <a:pt x="954" y="344"/>
                </a:lnTo>
                <a:lnTo>
                  <a:pt x="968" y="351"/>
                </a:lnTo>
                <a:lnTo>
                  <a:pt x="979" y="359"/>
                </a:lnTo>
                <a:lnTo>
                  <a:pt x="987" y="368"/>
                </a:lnTo>
                <a:lnTo>
                  <a:pt x="993" y="379"/>
                </a:lnTo>
                <a:lnTo>
                  <a:pt x="998" y="392"/>
                </a:lnTo>
                <a:lnTo>
                  <a:pt x="1000" y="404"/>
                </a:lnTo>
                <a:lnTo>
                  <a:pt x="1002" y="415"/>
                </a:lnTo>
                <a:lnTo>
                  <a:pt x="1002" y="430"/>
                </a:lnTo>
                <a:lnTo>
                  <a:pt x="1000" y="447"/>
                </a:lnTo>
                <a:lnTo>
                  <a:pt x="1000" y="460"/>
                </a:lnTo>
                <a:lnTo>
                  <a:pt x="1003" y="476"/>
                </a:lnTo>
                <a:lnTo>
                  <a:pt x="1010" y="490"/>
                </a:lnTo>
                <a:lnTo>
                  <a:pt x="1018" y="502"/>
                </a:lnTo>
                <a:lnTo>
                  <a:pt x="1028" y="511"/>
                </a:lnTo>
                <a:lnTo>
                  <a:pt x="1041" y="521"/>
                </a:lnTo>
                <a:lnTo>
                  <a:pt x="1054" y="527"/>
                </a:lnTo>
                <a:lnTo>
                  <a:pt x="1074" y="531"/>
                </a:lnTo>
                <a:lnTo>
                  <a:pt x="1091" y="533"/>
                </a:lnTo>
                <a:lnTo>
                  <a:pt x="1107" y="534"/>
                </a:lnTo>
                <a:lnTo>
                  <a:pt x="1125" y="533"/>
                </a:lnTo>
                <a:lnTo>
                  <a:pt x="1147" y="531"/>
                </a:lnTo>
                <a:lnTo>
                  <a:pt x="1164" y="530"/>
                </a:lnTo>
                <a:lnTo>
                  <a:pt x="1181" y="528"/>
                </a:lnTo>
                <a:lnTo>
                  <a:pt x="1197" y="527"/>
                </a:lnTo>
                <a:lnTo>
                  <a:pt x="1216" y="528"/>
                </a:lnTo>
                <a:lnTo>
                  <a:pt x="1226" y="530"/>
                </a:lnTo>
                <a:lnTo>
                  <a:pt x="1238" y="533"/>
                </a:lnTo>
                <a:lnTo>
                  <a:pt x="1249" y="539"/>
                </a:lnTo>
                <a:lnTo>
                  <a:pt x="1261" y="548"/>
                </a:lnTo>
                <a:lnTo>
                  <a:pt x="1270" y="558"/>
                </a:lnTo>
                <a:lnTo>
                  <a:pt x="1277" y="573"/>
                </a:lnTo>
                <a:lnTo>
                  <a:pt x="1280" y="586"/>
                </a:lnTo>
                <a:lnTo>
                  <a:pt x="1282" y="602"/>
                </a:lnTo>
                <a:lnTo>
                  <a:pt x="1284" y="631"/>
                </a:lnTo>
                <a:lnTo>
                  <a:pt x="1283" y="665"/>
                </a:lnTo>
                <a:lnTo>
                  <a:pt x="1284" y="701"/>
                </a:lnTo>
                <a:lnTo>
                  <a:pt x="1281" y="743"/>
                </a:lnTo>
                <a:lnTo>
                  <a:pt x="1278" y="772"/>
                </a:lnTo>
                <a:lnTo>
                  <a:pt x="1275" y="795"/>
                </a:lnTo>
                <a:lnTo>
                  <a:pt x="1270" y="808"/>
                </a:lnTo>
                <a:lnTo>
                  <a:pt x="1262" y="820"/>
                </a:lnTo>
                <a:lnTo>
                  <a:pt x="1253" y="828"/>
                </a:lnTo>
                <a:lnTo>
                  <a:pt x="1241" y="835"/>
                </a:lnTo>
                <a:lnTo>
                  <a:pt x="1227" y="839"/>
                </a:lnTo>
                <a:lnTo>
                  <a:pt x="1215" y="842"/>
                </a:lnTo>
                <a:lnTo>
                  <a:pt x="1190" y="843"/>
                </a:lnTo>
                <a:lnTo>
                  <a:pt x="1168" y="842"/>
                </a:lnTo>
                <a:lnTo>
                  <a:pt x="1150" y="839"/>
                </a:lnTo>
                <a:lnTo>
                  <a:pt x="1134" y="838"/>
                </a:lnTo>
                <a:lnTo>
                  <a:pt x="1116" y="837"/>
                </a:lnTo>
                <a:lnTo>
                  <a:pt x="1100" y="837"/>
                </a:lnTo>
                <a:lnTo>
                  <a:pt x="1086" y="838"/>
                </a:lnTo>
                <a:lnTo>
                  <a:pt x="1071" y="839"/>
                </a:lnTo>
                <a:lnTo>
                  <a:pt x="1053" y="844"/>
                </a:lnTo>
                <a:lnTo>
                  <a:pt x="1043" y="848"/>
                </a:lnTo>
                <a:lnTo>
                  <a:pt x="1034" y="852"/>
                </a:lnTo>
                <a:lnTo>
                  <a:pt x="1022" y="860"/>
                </a:lnTo>
                <a:lnTo>
                  <a:pt x="1014" y="870"/>
                </a:lnTo>
                <a:lnTo>
                  <a:pt x="1008" y="879"/>
                </a:lnTo>
                <a:lnTo>
                  <a:pt x="1002" y="890"/>
                </a:lnTo>
                <a:lnTo>
                  <a:pt x="999" y="901"/>
                </a:lnTo>
                <a:lnTo>
                  <a:pt x="998" y="913"/>
                </a:lnTo>
                <a:lnTo>
                  <a:pt x="999" y="926"/>
                </a:lnTo>
                <a:lnTo>
                  <a:pt x="999" y="948"/>
                </a:lnTo>
                <a:lnTo>
                  <a:pt x="998" y="971"/>
                </a:lnTo>
                <a:lnTo>
                  <a:pt x="992" y="988"/>
                </a:lnTo>
                <a:lnTo>
                  <a:pt x="986" y="1002"/>
                </a:lnTo>
                <a:lnTo>
                  <a:pt x="977" y="1012"/>
                </a:lnTo>
                <a:lnTo>
                  <a:pt x="964" y="1020"/>
                </a:lnTo>
                <a:lnTo>
                  <a:pt x="951" y="1027"/>
                </a:lnTo>
                <a:lnTo>
                  <a:pt x="936" y="1031"/>
                </a:lnTo>
                <a:lnTo>
                  <a:pt x="917" y="1035"/>
                </a:lnTo>
                <a:lnTo>
                  <a:pt x="901" y="1040"/>
                </a:lnTo>
                <a:lnTo>
                  <a:pt x="882" y="1043"/>
                </a:lnTo>
                <a:lnTo>
                  <a:pt x="866" y="1046"/>
                </a:lnTo>
                <a:lnTo>
                  <a:pt x="848" y="1050"/>
                </a:lnTo>
                <a:lnTo>
                  <a:pt x="834" y="1057"/>
                </a:lnTo>
                <a:lnTo>
                  <a:pt x="818" y="1064"/>
                </a:lnTo>
                <a:lnTo>
                  <a:pt x="803" y="1073"/>
                </a:lnTo>
                <a:lnTo>
                  <a:pt x="792" y="1085"/>
                </a:lnTo>
                <a:lnTo>
                  <a:pt x="782" y="1099"/>
                </a:lnTo>
                <a:lnTo>
                  <a:pt x="774" y="1116"/>
                </a:lnTo>
                <a:lnTo>
                  <a:pt x="772" y="1131"/>
                </a:lnTo>
                <a:lnTo>
                  <a:pt x="773" y="1148"/>
                </a:lnTo>
                <a:lnTo>
                  <a:pt x="776" y="1164"/>
                </a:lnTo>
                <a:lnTo>
                  <a:pt x="781" y="1181"/>
                </a:lnTo>
                <a:lnTo>
                  <a:pt x="785" y="1200"/>
                </a:lnTo>
                <a:lnTo>
                  <a:pt x="788" y="1217"/>
                </a:lnTo>
                <a:lnTo>
                  <a:pt x="792" y="1239"/>
                </a:lnTo>
                <a:lnTo>
                  <a:pt x="792" y="1261"/>
                </a:lnTo>
                <a:lnTo>
                  <a:pt x="787" y="1283"/>
                </a:lnTo>
                <a:lnTo>
                  <a:pt x="782" y="1300"/>
                </a:lnTo>
                <a:lnTo>
                  <a:pt x="776" y="1317"/>
                </a:lnTo>
                <a:lnTo>
                  <a:pt x="768" y="1333"/>
                </a:lnTo>
                <a:lnTo>
                  <a:pt x="757" y="1353"/>
                </a:lnTo>
                <a:lnTo>
                  <a:pt x="745" y="1366"/>
                </a:lnTo>
                <a:lnTo>
                  <a:pt x="735" y="1375"/>
                </a:lnTo>
                <a:lnTo>
                  <a:pt x="722" y="1386"/>
                </a:lnTo>
                <a:lnTo>
                  <a:pt x="708" y="1396"/>
                </a:lnTo>
                <a:lnTo>
                  <a:pt x="695" y="1401"/>
                </a:lnTo>
                <a:lnTo>
                  <a:pt x="683" y="1404"/>
                </a:lnTo>
                <a:lnTo>
                  <a:pt x="663" y="1406"/>
                </a:lnTo>
                <a:lnTo>
                  <a:pt x="640" y="1407"/>
                </a:lnTo>
                <a:lnTo>
                  <a:pt x="612" y="1406"/>
                </a:lnTo>
                <a:lnTo>
                  <a:pt x="599" y="1406"/>
                </a:lnTo>
                <a:lnTo>
                  <a:pt x="582" y="1403"/>
                </a:lnTo>
                <a:lnTo>
                  <a:pt x="564" y="1398"/>
                </a:lnTo>
                <a:lnTo>
                  <a:pt x="548" y="1389"/>
                </a:lnTo>
                <a:lnTo>
                  <a:pt x="538" y="1381"/>
                </a:lnTo>
                <a:lnTo>
                  <a:pt x="527" y="1370"/>
                </a:lnTo>
                <a:lnTo>
                  <a:pt x="518" y="1360"/>
                </a:lnTo>
                <a:lnTo>
                  <a:pt x="509" y="1347"/>
                </a:lnTo>
                <a:lnTo>
                  <a:pt x="502" y="1334"/>
                </a:lnTo>
                <a:lnTo>
                  <a:pt x="496" y="1318"/>
                </a:lnTo>
                <a:lnTo>
                  <a:pt x="493" y="1301"/>
                </a:lnTo>
                <a:lnTo>
                  <a:pt x="492" y="1288"/>
                </a:lnTo>
                <a:lnTo>
                  <a:pt x="492" y="1270"/>
                </a:lnTo>
                <a:lnTo>
                  <a:pt x="493" y="1255"/>
                </a:lnTo>
                <a:lnTo>
                  <a:pt x="498" y="1239"/>
                </a:lnTo>
                <a:lnTo>
                  <a:pt x="502" y="1220"/>
                </a:lnTo>
                <a:lnTo>
                  <a:pt x="507" y="1202"/>
                </a:lnTo>
                <a:lnTo>
                  <a:pt x="510" y="1186"/>
                </a:lnTo>
                <a:lnTo>
                  <a:pt x="511" y="1171"/>
                </a:lnTo>
                <a:lnTo>
                  <a:pt x="510" y="1159"/>
                </a:lnTo>
                <a:lnTo>
                  <a:pt x="507" y="1147"/>
                </a:lnTo>
                <a:lnTo>
                  <a:pt x="499" y="1132"/>
                </a:lnTo>
                <a:lnTo>
                  <a:pt x="491" y="1122"/>
                </a:lnTo>
                <a:lnTo>
                  <a:pt x="481" y="1111"/>
                </a:lnTo>
                <a:lnTo>
                  <a:pt x="470" y="1103"/>
                </a:lnTo>
                <a:lnTo>
                  <a:pt x="459" y="1095"/>
                </a:lnTo>
                <a:lnTo>
                  <a:pt x="443" y="1089"/>
                </a:lnTo>
                <a:lnTo>
                  <a:pt x="429" y="1085"/>
                </a:lnTo>
                <a:lnTo>
                  <a:pt x="411" y="1081"/>
                </a:lnTo>
                <a:lnTo>
                  <a:pt x="395" y="1079"/>
                </a:lnTo>
                <a:lnTo>
                  <a:pt x="380" y="1075"/>
                </a:lnTo>
                <a:lnTo>
                  <a:pt x="362" y="1071"/>
                </a:lnTo>
                <a:lnTo>
                  <a:pt x="347" y="1065"/>
                </a:lnTo>
                <a:lnTo>
                  <a:pt x="329" y="1060"/>
                </a:lnTo>
                <a:lnTo>
                  <a:pt x="315" y="1054"/>
                </a:lnTo>
                <a:lnTo>
                  <a:pt x="304" y="1045"/>
                </a:lnTo>
                <a:lnTo>
                  <a:pt x="295" y="1033"/>
                </a:lnTo>
                <a:lnTo>
                  <a:pt x="289" y="1018"/>
                </a:lnTo>
                <a:lnTo>
                  <a:pt x="284" y="998"/>
                </a:lnTo>
                <a:lnTo>
                  <a:pt x="283" y="982"/>
                </a:lnTo>
                <a:lnTo>
                  <a:pt x="284" y="964"/>
                </a:lnTo>
                <a:lnTo>
                  <a:pt x="286" y="950"/>
                </a:lnTo>
                <a:lnTo>
                  <a:pt x="284" y="933"/>
                </a:lnTo>
                <a:lnTo>
                  <a:pt x="279" y="920"/>
                </a:lnTo>
                <a:lnTo>
                  <a:pt x="270" y="906"/>
                </a:lnTo>
                <a:lnTo>
                  <a:pt x="261" y="897"/>
                </a:lnTo>
                <a:lnTo>
                  <a:pt x="250" y="888"/>
                </a:lnTo>
                <a:lnTo>
                  <a:pt x="235" y="882"/>
                </a:lnTo>
                <a:lnTo>
                  <a:pt x="218" y="876"/>
                </a:lnTo>
                <a:lnTo>
                  <a:pt x="200" y="874"/>
                </a:lnTo>
                <a:lnTo>
                  <a:pt x="185" y="872"/>
                </a:lnTo>
                <a:lnTo>
                  <a:pt x="168" y="872"/>
                </a:lnTo>
                <a:lnTo>
                  <a:pt x="153" y="874"/>
                </a:lnTo>
                <a:lnTo>
                  <a:pt x="138" y="875"/>
                </a:lnTo>
                <a:lnTo>
                  <a:pt x="123" y="877"/>
                </a:lnTo>
                <a:lnTo>
                  <a:pt x="108" y="879"/>
                </a:lnTo>
                <a:lnTo>
                  <a:pt x="83" y="879"/>
                </a:lnTo>
                <a:lnTo>
                  <a:pt x="67" y="878"/>
                </a:lnTo>
                <a:lnTo>
                  <a:pt x="50" y="874"/>
                </a:lnTo>
                <a:lnTo>
                  <a:pt x="38" y="868"/>
                </a:lnTo>
                <a:lnTo>
                  <a:pt x="25" y="858"/>
                </a:lnTo>
                <a:lnTo>
                  <a:pt x="16" y="847"/>
                </a:lnTo>
                <a:lnTo>
                  <a:pt x="10" y="835"/>
                </a:lnTo>
                <a:lnTo>
                  <a:pt x="3" y="812"/>
                </a:lnTo>
                <a:lnTo>
                  <a:pt x="2" y="788"/>
                </a:lnTo>
                <a:lnTo>
                  <a:pt x="1" y="764"/>
                </a:lnTo>
                <a:lnTo>
                  <a:pt x="0" y="734"/>
                </a:lnTo>
                <a:lnTo>
                  <a:pt x="2" y="708"/>
                </a:lnTo>
                <a:lnTo>
                  <a:pt x="3" y="680"/>
                </a:lnTo>
                <a:lnTo>
                  <a:pt x="4" y="655"/>
                </a:lnTo>
                <a:lnTo>
                  <a:pt x="6" y="629"/>
                </a:lnTo>
                <a:lnTo>
                  <a:pt x="9" y="609"/>
                </a:lnTo>
                <a:lnTo>
                  <a:pt x="12" y="587"/>
                </a:lnTo>
                <a:lnTo>
                  <a:pt x="16" y="570"/>
                </a:lnTo>
                <a:lnTo>
                  <a:pt x="22" y="559"/>
                </a:lnTo>
                <a:lnTo>
                  <a:pt x="31" y="548"/>
                </a:lnTo>
                <a:lnTo>
                  <a:pt x="40" y="541"/>
                </a:lnTo>
                <a:lnTo>
                  <a:pt x="52" y="533"/>
                </a:lnTo>
                <a:lnTo>
                  <a:pt x="63" y="531"/>
                </a:lnTo>
                <a:lnTo>
                  <a:pt x="77" y="528"/>
                </a:lnTo>
                <a:lnTo>
                  <a:pt x="95" y="527"/>
                </a:lnTo>
                <a:lnTo>
                  <a:pt x="111" y="528"/>
                </a:lnTo>
                <a:lnTo>
                  <a:pt x="133" y="531"/>
                </a:lnTo>
                <a:lnTo>
                  <a:pt x="152" y="532"/>
                </a:lnTo>
                <a:lnTo>
                  <a:pt x="168" y="533"/>
                </a:lnTo>
                <a:lnTo>
                  <a:pt x="190" y="534"/>
                </a:lnTo>
                <a:lnTo>
                  <a:pt x="213" y="531"/>
                </a:lnTo>
                <a:lnTo>
                  <a:pt x="232" y="527"/>
                </a:lnTo>
                <a:lnTo>
                  <a:pt x="250" y="520"/>
                </a:lnTo>
                <a:lnTo>
                  <a:pt x="262" y="513"/>
                </a:lnTo>
                <a:lnTo>
                  <a:pt x="274" y="502"/>
                </a:lnTo>
                <a:lnTo>
                  <a:pt x="283" y="488"/>
                </a:lnTo>
                <a:lnTo>
                  <a:pt x="289" y="474"/>
                </a:lnTo>
                <a:lnTo>
                  <a:pt x="291" y="459"/>
                </a:lnTo>
                <a:lnTo>
                  <a:pt x="290" y="448"/>
                </a:lnTo>
                <a:lnTo>
                  <a:pt x="289" y="427"/>
                </a:lnTo>
                <a:lnTo>
                  <a:pt x="290" y="406"/>
                </a:lnTo>
                <a:lnTo>
                  <a:pt x="294" y="390"/>
                </a:lnTo>
                <a:lnTo>
                  <a:pt x="299" y="375"/>
                </a:lnTo>
                <a:lnTo>
                  <a:pt x="306" y="364"/>
                </a:lnTo>
                <a:lnTo>
                  <a:pt x="320" y="353"/>
                </a:lnTo>
                <a:lnTo>
                  <a:pt x="335" y="345"/>
                </a:lnTo>
                <a:lnTo>
                  <a:pt x="354" y="339"/>
                </a:lnTo>
                <a:lnTo>
                  <a:pt x="373" y="334"/>
                </a:lnTo>
                <a:lnTo>
                  <a:pt x="389" y="330"/>
                </a:lnTo>
                <a:lnTo>
                  <a:pt x="409" y="327"/>
                </a:lnTo>
                <a:lnTo>
                  <a:pt x="428" y="323"/>
                </a:lnTo>
                <a:lnTo>
                  <a:pt x="450" y="317"/>
                </a:lnTo>
                <a:lnTo>
                  <a:pt x="471" y="308"/>
                </a:lnTo>
                <a:lnTo>
                  <a:pt x="489" y="294"/>
                </a:lnTo>
                <a:close/>
              </a:path>
            </a:pathLst>
          </a:custGeom>
          <a:solidFill>
            <a:schemeClr val="accent1"/>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r>
              <a:rPr lang="en-US" sz="2500" dirty="0">
                <a:solidFill>
                  <a:prstClr val="black"/>
                </a:solidFill>
                <a:ea typeface="ＭＳ Ｐゴシック" pitchFamily="34" charset="-128"/>
              </a:rPr>
              <a:t> </a:t>
            </a:r>
          </a:p>
          <a:p>
            <a:pPr algn="ctr" defTabSz="457200" fontAlgn="base">
              <a:spcBef>
                <a:spcPct val="0"/>
              </a:spcBef>
              <a:spcAft>
                <a:spcPct val="0"/>
              </a:spcAft>
            </a:pPr>
            <a:endParaRPr lang="en-US" sz="2500" dirty="0">
              <a:solidFill>
                <a:prstClr val="black"/>
              </a:solidFill>
              <a:ea typeface="ＭＳ Ｐゴシック" pitchFamily="34" charset="-128"/>
            </a:endParaRPr>
          </a:p>
          <a:p>
            <a:pPr algn="ctr" defTabSz="457200" fontAlgn="base">
              <a:spcBef>
                <a:spcPct val="0"/>
              </a:spcBef>
              <a:spcAft>
                <a:spcPct val="0"/>
              </a:spcAft>
            </a:pPr>
            <a:endParaRPr lang="en-US" sz="2500" dirty="0">
              <a:solidFill>
                <a:prstClr val="black"/>
              </a:solidFill>
              <a:ea typeface="ＭＳ Ｐゴシック" pitchFamily="34" charset="-128"/>
            </a:endParaRPr>
          </a:p>
          <a:p>
            <a:pPr algn="ctr" defTabSz="457200" fontAlgn="base">
              <a:spcBef>
                <a:spcPct val="0"/>
              </a:spcBef>
              <a:spcAft>
                <a:spcPct val="0"/>
              </a:spcAft>
            </a:pPr>
            <a:r>
              <a:rPr lang="en-US" sz="2500" dirty="0">
                <a:solidFill>
                  <a:schemeClr val="bg1"/>
                </a:solidFill>
                <a:ea typeface="ＭＳ Ｐゴシック" pitchFamily="34" charset="-128"/>
              </a:rPr>
              <a:t>POC Testing</a:t>
            </a:r>
          </a:p>
        </p:txBody>
      </p:sp>
      <p:sp>
        <p:nvSpPr>
          <p:cNvPr id="3" name="TextBox 2"/>
          <p:cNvSpPr txBox="1"/>
          <p:nvPr/>
        </p:nvSpPr>
        <p:spPr>
          <a:xfrm>
            <a:off x="2742493" y="5833241"/>
            <a:ext cx="6335644" cy="39413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defTabSz="457200" fontAlgn="base"/>
            <a:r>
              <a:rPr lang="en-US" sz="2000" b="1" dirty="0">
                <a:solidFill>
                  <a:srgbClr val="000000"/>
                </a:solidFill>
                <a:ea typeface="ＭＳ 明朝"/>
                <a:cs typeface="Times New Roman"/>
              </a:rPr>
              <a:t>Supervision and Mentorship</a:t>
            </a:r>
          </a:p>
        </p:txBody>
      </p:sp>
      <p:sp>
        <p:nvSpPr>
          <p:cNvPr id="10" name="Oval 9">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8789711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
            <a:ext cx="12188825" cy="85980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at Is “Quality?”</a:t>
            </a:r>
          </a:p>
        </p:txBody>
      </p:sp>
      <p:sp>
        <p:nvSpPr>
          <p:cNvPr id="2" name="Content Placeholder 1"/>
          <p:cNvSpPr>
            <a:spLocks noGrp="1"/>
          </p:cNvSpPr>
          <p:nvPr>
            <p:ph idx="1"/>
          </p:nvPr>
        </p:nvSpPr>
        <p:spPr>
          <a:xfrm>
            <a:off x="406294" y="1447800"/>
            <a:ext cx="10969943" cy="4325112"/>
          </a:xfrm>
        </p:spPr>
        <p:txBody>
          <a:bodyPr>
            <a:normAutofit/>
          </a:bodyPr>
          <a:lstStyle/>
          <a:p>
            <a:r>
              <a:rPr lang="en-US" sz="2400" dirty="0">
                <a:latin typeface="Calibri" pitchFamily="34" charset="0"/>
              </a:rPr>
              <a:t>The ability of a product or service to satisfy stated or implied needs of a specific customer</a:t>
            </a:r>
          </a:p>
          <a:p>
            <a:pPr>
              <a:buFontTx/>
              <a:buNone/>
            </a:pPr>
            <a:endParaRPr lang="en-US" sz="2400" dirty="0">
              <a:latin typeface="Calibri" pitchFamily="34" charset="0"/>
            </a:endParaRPr>
          </a:p>
          <a:p>
            <a:r>
              <a:rPr lang="en-US" sz="2400" dirty="0">
                <a:latin typeface="Calibri" pitchFamily="34" charset="0"/>
              </a:rPr>
              <a:t>Quality is achieved by conforming to established requirements and standards</a:t>
            </a:r>
          </a:p>
          <a:p>
            <a:pPr>
              <a:buNone/>
            </a:pPr>
            <a:endParaRPr lang="en-US" sz="2400" dirty="0">
              <a:latin typeface="Calibri" pitchFamily="34" charset="0"/>
            </a:endParaRP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181682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7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Why do we care about quality?</a:t>
            </a:r>
          </a:p>
        </p:txBody>
      </p:sp>
      <p:sp>
        <p:nvSpPr>
          <p:cNvPr id="1048579" name="Rectangle 3"/>
          <p:cNvSpPr>
            <a:spLocks noChangeArrowheads="1"/>
          </p:cNvSpPr>
          <p:nvPr/>
        </p:nvSpPr>
        <p:spPr bwMode="auto">
          <a:xfrm>
            <a:off x="1372236" y="19812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Test Site</a:t>
            </a:r>
          </a:p>
          <a:p>
            <a:pPr algn="ctr" defTabSz="457200" fontAlgn="base">
              <a:spcBef>
                <a:spcPct val="0"/>
              </a:spcBef>
              <a:spcAft>
                <a:spcPct val="0"/>
              </a:spcAft>
            </a:pPr>
            <a:r>
              <a:rPr lang="en-US" sz="2400" dirty="0">
                <a:solidFill>
                  <a:prstClr val="white"/>
                </a:solidFill>
                <a:ea typeface="ＭＳ Ｐゴシック" pitchFamily="34" charset="-128"/>
              </a:rPr>
              <a:t> Quality</a:t>
            </a:r>
          </a:p>
        </p:txBody>
      </p:sp>
      <p:sp>
        <p:nvSpPr>
          <p:cNvPr id="1048580" name="Rectangle 4"/>
          <p:cNvSpPr>
            <a:spLocks noChangeArrowheads="1"/>
          </p:cNvSpPr>
          <p:nvPr/>
        </p:nvSpPr>
        <p:spPr bwMode="auto">
          <a:xfrm>
            <a:off x="4216295" y="33528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Accurate, </a:t>
            </a:r>
          </a:p>
          <a:p>
            <a:pPr algn="ctr" defTabSz="457200" fontAlgn="base">
              <a:spcBef>
                <a:spcPct val="0"/>
              </a:spcBef>
              <a:spcAft>
                <a:spcPct val="0"/>
              </a:spcAft>
            </a:pPr>
            <a:r>
              <a:rPr lang="en-US" sz="2400" dirty="0">
                <a:solidFill>
                  <a:prstClr val="white"/>
                </a:solidFill>
                <a:ea typeface="ＭＳ Ｐゴシック" pitchFamily="34" charset="-128"/>
              </a:rPr>
              <a:t>Reliable</a:t>
            </a:r>
          </a:p>
          <a:p>
            <a:pPr algn="ctr" defTabSz="457200" fontAlgn="base">
              <a:spcBef>
                <a:spcPct val="0"/>
              </a:spcBef>
              <a:spcAft>
                <a:spcPct val="0"/>
              </a:spcAft>
            </a:pPr>
            <a:r>
              <a:rPr lang="en-US" sz="2400" dirty="0">
                <a:solidFill>
                  <a:prstClr val="white"/>
                </a:solidFill>
                <a:ea typeface="ＭＳ Ｐゴシック" pitchFamily="34" charset="-128"/>
              </a:rPr>
              <a:t>Testing</a:t>
            </a:r>
          </a:p>
        </p:txBody>
      </p:sp>
      <p:sp>
        <p:nvSpPr>
          <p:cNvPr id="1048581" name="Rectangle 5"/>
          <p:cNvSpPr>
            <a:spLocks noChangeArrowheads="1"/>
          </p:cNvSpPr>
          <p:nvPr/>
        </p:nvSpPr>
        <p:spPr bwMode="auto">
          <a:xfrm>
            <a:off x="7060353" y="47244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Quality in </a:t>
            </a:r>
          </a:p>
          <a:p>
            <a:pPr algn="ctr" defTabSz="457200" fontAlgn="base">
              <a:spcBef>
                <a:spcPct val="0"/>
              </a:spcBef>
              <a:spcAft>
                <a:spcPct val="0"/>
              </a:spcAft>
            </a:pPr>
            <a:r>
              <a:rPr lang="en-US" sz="2400" dirty="0">
                <a:solidFill>
                  <a:prstClr val="white"/>
                </a:solidFill>
                <a:ea typeface="ＭＳ Ｐゴシック" pitchFamily="34" charset="-128"/>
              </a:rPr>
              <a:t>All Aspects </a:t>
            </a:r>
          </a:p>
          <a:p>
            <a:pPr algn="ctr" defTabSz="457200" fontAlgn="base">
              <a:spcBef>
                <a:spcPct val="0"/>
              </a:spcBef>
              <a:spcAft>
                <a:spcPct val="0"/>
              </a:spcAft>
            </a:pPr>
            <a:r>
              <a:rPr lang="en-US" sz="2400" dirty="0">
                <a:solidFill>
                  <a:prstClr val="white"/>
                </a:solidFill>
                <a:ea typeface="ＭＳ Ｐゴシック" pitchFamily="34" charset="-128"/>
              </a:rPr>
              <a:t>of Health Care</a:t>
            </a:r>
          </a:p>
        </p:txBody>
      </p:sp>
      <p:sp>
        <p:nvSpPr>
          <p:cNvPr id="1048582" name="AutoShape 6"/>
          <p:cNvSpPr>
            <a:spLocks noChangeArrowheads="1"/>
          </p:cNvSpPr>
          <p:nvPr/>
        </p:nvSpPr>
        <p:spPr bwMode="auto">
          <a:xfrm rot="2037526">
            <a:off x="4597197" y="2305071"/>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48583" name="AutoShape 7"/>
          <p:cNvSpPr>
            <a:spLocks noChangeArrowheads="1"/>
          </p:cNvSpPr>
          <p:nvPr/>
        </p:nvSpPr>
        <p:spPr bwMode="auto">
          <a:xfrm rot="2037526">
            <a:off x="7568223" y="3733802"/>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16489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738" name="Rectangle 2"/>
          <p:cNvSpPr>
            <a:spLocks noGrp="1" noChangeArrowheads="1"/>
          </p:cNvSpPr>
          <p:nvPr>
            <p:ph type="title"/>
          </p:nvPr>
        </p:nvSpPr>
        <p:spPr>
          <a:xfrm>
            <a:off x="0" y="1"/>
            <a:ext cx="12188825" cy="98263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at is a ‘Systems Approach’ to quality? </a:t>
            </a:r>
          </a:p>
        </p:txBody>
      </p:sp>
      <p:sp>
        <p:nvSpPr>
          <p:cNvPr id="884740" name="Rectangle 4"/>
          <p:cNvSpPr>
            <a:spLocks noGrp="1" noChangeArrowheads="1"/>
          </p:cNvSpPr>
          <p:nvPr>
            <p:ph type="body" sz="half" idx="1"/>
          </p:nvPr>
        </p:nvSpPr>
        <p:spPr>
          <a:xfrm>
            <a:off x="507868" y="1295400"/>
            <a:ext cx="8329744" cy="4724400"/>
          </a:xfrm>
        </p:spPr>
        <p:txBody>
          <a:bodyPr>
            <a:normAutofit/>
          </a:bodyPr>
          <a:lstStyle/>
          <a:p>
            <a:pPr marL="223838" indent="-223838"/>
            <a:endParaRPr lang="en-US" sz="2400" dirty="0">
              <a:latin typeface="Calibri" pitchFamily="34" charset="0"/>
            </a:endParaRPr>
          </a:p>
          <a:p>
            <a:pPr marL="223838" indent="-223838"/>
            <a:r>
              <a:rPr lang="en-US" sz="2400" dirty="0">
                <a:latin typeface="Calibri" pitchFamily="34" charset="0"/>
              </a:rPr>
              <a:t>Considers all components within a system</a:t>
            </a:r>
          </a:p>
          <a:p>
            <a:pPr marL="223838" indent="-223838">
              <a:buNone/>
            </a:pPr>
            <a:endParaRPr lang="en-US" sz="2400" dirty="0">
              <a:latin typeface="Calibri" pitchFamily="34" charset="0"/>
            </a:endParaRPr>
          </a:p>
          <a:p>
            <a:pPr marL="223838" indent="-223838"/>
            <a:r>
              <a:rPr lang="en-US" sz="2400" dirty="0">
                <a:latin typeface="Calibri" pitchFamily="34" charset="0"/>
              </a:rPr>
              <a:t>Identifies the connection and relationship (e.g., cause and effect) among the components</a:t>
            </a:r>
          </a:p>
          <a:p>
            <a:pPr marL="0" indent="0">
              <a:lnSpc>
                <a:spcPct val="90000"/>
              </a:lnSpc>
              <a:spcBef>
                <a:spcPct val="0"/>
              </a:spcBef>
              <a:spcAft>
                <a:spcPct val="25000"/>
              </a:spcAft>
              <a:buClr>
                <a:srgbClr val="FFD911"/>
              </a:buClr>
              <a:buSzPct val="95000"/>
              <a:buNone/>
            </a:pPr>
            <a:endParaRPr lang="en-US" sz="2400" dirty="0">
              <a:latin typeface="Calibri" pitchFamily="34" charset="0"/>
              <a:cs typeface="Calibri" pitchFamily="34" charset="0"/>
            </a:endParaRPr>
          </a:p>
          <a:p>
            <a:pPr marL="0" indent="0">
              <a:lnSpc>
                <a:spcPct val="90000"/>
              </a:lnSpc>
              <a:spcBef>
                <a:spcPct val="0"/>
              </a:spcBef>
              <a:spcAft>
                <a:spcPct val="25000"/>
              </a:spcAft>
              <a:buClr>
                <a:srgbClr val="FFD911"/>
              </a:buClr>
              <a:buSzPct val="95000"/>
              <a:buNone/>
            </a:pPr>
            <a:endParaRPr lang="en-US" sz="2400" dirty="0">
              <a:latin typeface="Calibri" pitchFamily="34" charset="0"/>
              <a:ea typeface="ＭＳ Ｐゴシック" pitchFamily="34" charset="-128"/>
              <a:cs typeface="Calibri" pitchFamily="34" charset="0"/>
            </a:endParaRPr>
          </a:p>
          <a:p>
            <a:pPr marL="0" indent="0">
              <a:lnSpc>
                <a:spcPct val="90000"/>
              </a:lnSpc>
              <a:spcBef>
                <a:spcPct val="0"/>
              </a:spcBef>
              <a:spcAft>
                <a:spcPct val="25000"/>
              </a:spcAft>
              <a:buClr>
                <a:srgbClr val="FFD911"/>
              </a:buClr>
              <a:buSzPct val="95000"/>
              <a:buNone/>
            </a:pPr>
            <a:r>
              <a:rPr lang="en-US" sz="2400" dirty="0">
                <a:ea typeface="ＭＳ Ｐゴシック" pitchFamily="34" charset="-128"/>
                <a:cs typeface="Calibri" pitchFamily="34" charset="0"/>
              </a:rPr>
              <a:t>Example: The human body</a:t>
            </a:r>
          </a:p>
          <a:p>
            <a:pPr>
              <a:lnSpc>
                <a:spcPct val="70000"/>
              </a:lnSpc>
              <a:spcBef>
                <a:spcPct val="0"/>
              </a:spcBef>
              <a:spcAft>
                <a:spcPct val="25000"/>
              </a:spcAft>
              <a:buClr>
                <a:srgbClr val="FFD911"/>
              </a:buClr>
              <a:buSzPct val="95000"/>
            </a:pPr>
            <a:endParaRPr lang="en-US" sz="2400" dirty="0">
              <a:ea typeface="ＭＳ Ｐゴシック" pitchFamily="34" charset="-128"/>
              <a:cs typeface="Calibri" pitchFamily="34" charset="0"/>
            </a:endParaRPr>
          </a:p>
          <a:p>
            <a:pPr marL="0" indent="0">
              <a:lnSpc>
                <a:spcPct val="70000"/>
              </a:lnSpc>
              <a:spcBef>
                <a:spcPct val="0"/>
              </a:spcBef>
              <a:spcAft>
                <a:spcPct val="25000"/>
              </a:spcAft>
              <a:buClr>
                <a:srgbClr val="FFD911"/>
              </a:buClr>
              <a:buSzPct val="95000"/>
              <a:buNone/>
            </a:pPr>
            <a:r>
              <a:rPr lang="en-US" sz="2400" dirty="0">
                <a:ea typeface="ＭＳ Ｐゴシック" pitchFamily="34" charset="-128"/>
                <a:cs typeface="Calibri" pitchFamily="34" charset="0"/>
                <a:sym typeface="Wingdings" panose="05000000000000000000" pitchFamily="2" charset="2"/>
              </a:rPr>
              <a:t> </a:t>
            </a:r>
            <a:r>
              <a:rPr lang="en-US" sz="2400" dirty="0">
                <a:ea typeface="ＭＳ Ｐゴシック" pitchFamily="34" charset="-128"/>
                <a:cs typeface="Calibri" pitchFamily="34" charset="0"/>
              </a:rPr>
              <a:t>A headache may be caused by a problem somewhere else in the body </a:t>
            </a:r>
          </a:p>
          <a:p>
            <a:pPr marL="223838" indent="-223838" algn="just">
              <a:buNone/>
            </a:pPr>
            <a:endParaRPr lang="en-US" sz="2400" dirty="0">
              <a:latin typeface="Calibri" pitchFamily="34" charset="0"/>
            </a:endParaRPr>
          </a:p>
        </p:txBody>
      </p:sp>
      <p:pic>
        <p:nvPicPr>
          <p:cNvPr id="884741" name="Picture 5" descr="MCHM00245_0000[1]"/>
          <p:cNvPicPr>
            <a:picLocks noGrp="1" noChangeAspect="1" noChangeArrowheads="1"/>
          </p:cNvPicPr>
          <p:nvPr>
            <p:ph sz="quarter" idx="2"/>
          </p:nvPr>
        </p:nvPicPr>
        <p:blipFill>
          <a:blip r:embed="rId3" cstate="print"/>
          <a:stretch>
            <a:fillRect/>
          </a:stretch>
        </p:blipFill>
        <p:spPr>
          <a:xfrm>
            <a:off x="8227471" y="1295400"/>
            <a:ext cx="3380475" cy="4995974"/>
          </a:xfrm>
          <a:noFill/>
          <a:ln/>
          <a:effectLst/>
        </p:spPr>
      </p:pic>
      <p:sp>
        <p:nvSpPr>
          <p:cNvPr id="6" name="Slide Number Placeholder 5"/>
          <p:cNvSpPr>
            <a:spLocks noGrp="1"/>
          </p:cNvSpPr>
          <p:nvPr>
            <p:ph type="sldNum" sz="quarter" idx="10"/>
          </p:nvPr>
        </p:nvSpPr>
        <p:spPr/>
        <p:txBody>
          <a:bodyPr/>
          <a:lstStyle/>
          <a:p>
            <a:fld id="{7F8C18F7-7A18-4C87-9251-F505B1B65F5E}" type="slidenum">
              <a:rPr lang="en-US"/>
              <a:pPr/>
              <a:t>8</a:t>
            </a:fld>
            <a:endParaRPr lang="en-US"/>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098117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78416" name="Rectangle 144"/>
          <p:cNvSpPr>
            <a:spLocks noGrp="1" noChangeArrowheads="1"/>
          </p:cNvSpPr>
          <p:nvPr>
            <p:ph type="title"/>
          </p:nvPr>
        </p:nvSpPr>
        <p:spPr>
          <a:xfrm>
            <a:off x="0" y="-7937"/>
            <a:ext cx="12188825" cy="935985"/>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he Laboratory Quality System</a:t>
            </a:r>
          </a:p>
        </p:txBody>
      </p:sp>
      <p:grpSp>
        <p:nvGrpSpPr>
          <p:cNvPr id="2" name="Group 326"/>
          <p:cNvGrpSpPr>
            <a:grpSpLocks/>
          </p:cNvGrpSpPr>
          <p:nvPr/>
        </p:nvGrpSpPr>
        <p:grpSpPr bwMode="auto">
          <a:xfrm>
            <a:off x="4546788" y="1070232"/>
            <a:ext cx="6813892" cy="5410200"/>
            <a:chOff x="1248" y="672"/>
            <a:chExt cx="3220" cy="3408"/>
          </a:xfrm>
        </p:grpSpPr>
        <p:sp>
          <p:nvSpPr>
            <p:cNvPr id="1078519" name="AutoShape 247" descr="Newsprint"/>
            <p:cNvSpPr>
              <a:spLocks noChangeArrowheads="1"/>
            </p:cNvSpPr>
            <p:nvPr/>
          </p:nvSpPr>
          <p:spPr bwMode="auto">
            <a:xfrm>
              <a:off x="1248" y="672"/>
              <a:ext cx="3216" cy="3408"/>
            </a:xfrm>
            <a:prstGeom prst="roundRect">
              <a:avLst>
                <a:gd name="adj" fmla="val 16667"/>
              </a:avLst>
            </a:prstGeom>
            <a:blipFill dpi="0" rotWithShape="1">
              <a:blip r:embed="rId3" cstate="print"/>
              <a:srcRect/>
              <a:tile tx="0" ty="0" sx="100000" sy="100000" flip="none" algn="tl"/>
            </a:blipFill>
            <a:ln w="9525">
              <a:solidFill>
                <a:schemeClr val="tx1"/>
              </a:solidFill>
              <a:round/>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3" name="Group 248"/>
            <p:cNvGrpSpPr>
              <a:grpSpLocks/>
            </p:cNvGrpSpPr>
            <p:nvPr/>
          </p:nvGrpSpPr>
          <p:grpSpPr bwMode="auto">
            <a:xfrm>
              <a:off x="1278" y="731"/>
              <a:ext cx="3190" cy="3306"/>
              <a:chOff x="1319" y="709"/>
              <a:chExt cx="3183" cy="3295"/>
            </a:xfrm>
          </p:grpSpPr>
          <p:sp>
            <p:nvSpPr>
              <p:cNvPr id="1078521" name="Rectangle 249"/>
              <p:cNvSpPr>
                <a:spLocks noChangeArrowheads="1"/>
              </p:cNvSpPr>
              <p:nvPr/>
            </p:nvSpPr>
            <p:spPr bwMode="auto">
              <a:xfrm>
                <a:off x="1761" y="3671"/>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2" name="Rectangle 250"/>
              <p:cNvSpPr>
                <a:spLocks noChangeArrowheads="1"/>
              </p:cNvSpPr>
              <p:nvPr/>
            </p:nvSpPr>
            <p:spPr bwMode="auto">
              <a:xfrm>
                <a:off x="1819" y="1951"/>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3" name="Rectangle 251"/>
              <p:cNvSpPr>
                <a:spLocks noChangeArrowheads="1"/>
              </p:cNvSpPr>
              <p:nvPr/>
            </p:nvSpPr>
            <p:spPr bwMode="auto">
              <a:xfrm>
                <a:off x="1771" y="2796"/>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4" name="Freeform 252"/>
              <p:cNvSpPr>
                <a:spLocks/>
              </p:cNvSpPr>
              <p:nvPr/>
            </p:nvSpPr>
            <p:spPr bwMode="auto">
              <a:xfrm>
                <a:off x="2666" y="2465"/>
                <a:ext cx="79" cy="46"/>
              </a:xfrm>
              <a:custGeom>
                <a:avLst/>
                <a:gdLst/>
                <a:ahLst/>
                <a:cxnLst>
                  <a:cxn ang="0">
                    <a:pos x="377" y="0"/>
                  </a:cxn>
                  <a:cxn ang="0">
                    <a:pos x="378" y="21"/>
                  </a:cxn>
                  <a:cxn ang="0">
                    <a:pos x="378" y="40"/>
                  </a:cxn>
                  <a:cxn ang="0">
                    <a:pos x="380" y="58"/>
                  </a:cxn>
                  <a:cxn ang="0">
                    <a:pos x="381" y="75"/>
                  </a:cxn>
                  <a:cxn ang="0">
                    <a:pos x="386" y="104"/>
                  </a:cxn>
                  <a:cxn ang="0">
                    <a:pos x="390" y="130"/>
                  </a:cxn>
                  <a:cxn ang="0">
                    <a:pos x="392" y="151"/>
                  </a:cxn>
                  <a:cxn ang="0">
                    <a:pos x="392" y="169"/>
                  </a:cxn>
                  <a:cxn ang="0">
                    <a:pos x="392" y="175"/>
                  </a:cxn>
                  <a:cxn ang="0">
                    <a:pos x="390" y="183"/>
                  </a:cxn>
                  <a:cxn ang="0">
                    <a:pos x="387" y="188"/>
                  </a:cxn>
                  <a:cxn ang="0">
                    <a:pos x="382" y="194"/>
                  </a:cxn>
                  <a:cxn ang="0">
                    <a:pos x="377" y="198"/>
                  </a:cxn>
                  <a:cxn ang="0">
                    <a:pos x="369" y="203"/>
                  </a:cxn>
                  <a:cxn ang="0">
                    <a:pos x="361" y="206"/>
                  </a:cxn>
                  <a:cxn ang="0">
                    <a:pos x="351" y="209"/>
                  </a:cxn>
                  <a:cxn ang="0">
                    <a:pos x="338" y="211"/>
                  </a:cxn>
                  <a:cxn ang="0">
                    <a:pos x="324" y="213"/>
                  </a:cxn>
                  <a:cxn ang="0">
                    <a:pos x="307" y="216"/>
                  </a:cxn>
                  <a:cxn ang="0">
                    <a:pos x="289" y="218"/>
                  </a:cxn>
                  <a:cxn ang="0">
                    <a:pos x="188" y="224"/>
                  </a:cxn>
                  <a:cxn ang="0">
                    <a:pos x="41" y="230"/>
                  </a:cxn>
                  <a:cxn ang="0">
                    <a:pos x="35" y="223"/>
                  </a:cxn>
                  <a:cxn ang="0">
                    <a:pos x="21" y="202"/>
                  </a:cxn>
                  <a:cxn ang="0">
                    <a:pos x="13" y="186"/>
                  </a:cxn>
                  <a:cxn ang="0">
                    <a:pos x="6" y="169"/>
                  </a:cxn>
                  <a:cxn ang="0">
                    <a:pos x="3" y="159"/>
                  </a:cxn>
                  <a:cxn ang="0">
                    <a:pos x="1" y="148"/>
                  </a:cxn>
                  <a:cxn ang="0">
                    <a:pos x="0" y="137"/>
                  </a:cxn>
                  <a:cxn ang="0">
                    <a:pos x="0" y="125"/>
                  </a:cxn>
                  <a:cxn ang="0">
                    <a:pos x="0" y="114"/>
                  </a:cxn>
                  <a:cxn ang="0">
                    <a:pos x="1" y="103"/>
                  </a:cxn>
                  <a:cxn ang="0">
                    <a:pos x="2" y="94"/>
                  </a:cxn>
                  <a:cxn ang="0">
                    <a:pos x="3" y="85"/>
                  </a:cxn>
                  <a:cxn ang="0">
                    <a:pos x="5" y="77"/>
                  </a:cxn>
                  <a:cxn ang="0">
                    <a:pos x="9" y="69"/>
                  </a:cxn>
                  <a:cxn ang="0">
                    <a:pos x="12" y="62"/>
                  </a:cxn>
                  <a:cxn ang="0">
                    <a:pos x="15" y="54"/>
                  </a:cxn>
                  <a:cxn ang="0">
                    <a:pos x="24" y="41"/>
                  </a:cxn>
                  <a:cxn ang="0">
                    <a:pos x="35" y="28"/>
                  </a:cxn>
                  <a:cxn ang="0">
                    <a:pos x="48" y="14"/>
                  </a:cxn>
                  <a:cxn ang="0">
                    <a:pos x="63" y="0"/>
                  </a:cxn>
                  <a:cxn ang="0">
                    <a:pos x="377" y="0"/>
                  </a:cxn>
                </a:cxnLst>
                <a:rect l="0" t="0" r="r" b="b"/>
                <a:pathLst>
                  <a:path w="392" h="230">
                    <a:moveTo>
                      <a:pt x="377" y="0"/>
                    </a:moveTo>
                    <a:lnTo>
                      <a:pt x="378" y="21"/>
                    </a:lnTo>
                    <a:lnTo>
                      <a:pt x="378" y="40"/>
                    </a:lnTo>
                    <a:lnTo>
                      <a:pt x="380" y="58"/>
                    </a:lnTo>
                    <a:lnTo>
                      <a:pt x="381" y="75"/>
                    </a:lnTo>
                    <a:lnTo>
                      <a:pt x="386" y="104"/>
                    </a:lnTo>
                    <a:lnTo>
                      <a:pt x="390" y="130"/>
                    </a:lnTo>
                    <a:lnTo>
                      <a:pt x="392" y="151"/>
                    </a:lnTo>
                    <a:lnTo>
                      <a:pt x="392" y="169"/>
                    </a:lnTo>
                    <a:lnTo>
                      <a:pt x="392" y="175"/>
                    </a:lnTo>
                    <a:lnTo>
                      <a:pt x="390" y="183"/>
                    </a:lnTo>
                    <a:lnTo>
                      <a:pt x="387" y="188"/>
                    </a:lnTo>
                    <a:lnTo>
                      <a:pt x="382" y="194"/>
                    </a:lnTo>
                    <a:lnTo>
                      <a:pt x="377" y="198"/>
                    </a:lnTo>
                    <a:lnTo>
                      <a:pt x="369" y="203"/>
                    </a:lnTo>
                    <a:lnTo>
                      <a:pt x="361" y="206"/>
                    </a:lnTo>
                    <a:lnTo>
                      <a:pt x="351" y="209"/>
                    </a:lnTo>
                    <a:lnTo>
                      <a:pt x="338" y="211"/>
                    </a:lnTo>
                    <a:lnTo>
                      <a:pt x="324" y="213"/>
                    </a:lnTo>
                    <a:lnTo>
                      <a:pt x="307" y="216"/>
                    </a:lnTo>
                    <a:lnTo>
                      <a:pt x="289" y="218"/>
                    </a:lnTo>
                    <a:lnTo>
                      <a:pt x="188" y="224"/>
                    </a:lnTo>
                    <a:lnTo>
                      <a:pt x="41" y="230"/>
                    </a:lnTo>
                    <a:lnTo>
                      <a:pt x="35" y="223"/>
                    </a:lnTo>
                    <a:lnTo>
                      <a:pt x="21" y="202"/>
                    </a:lnTo>
                    <a:lnTo>
                      <a:pt x="13" y="186"/>
                    </a:lnTo>
                    <a:lnTo>
                      <a:pt x="6" y="169"/>
                    </a:lnTo>
                    <a:lnTo>
                      <a:pt x="3" y="159"/>
                    </a:lnTo>
                    <a:lnTo>
                      <a:pt x="1" y="148"/>
                    </a:lnTo>
                    <a:lnTo>
                      <a:pt x="0" y="137"/>
                    </a:lnTo>
                    <a:lnTo>
                      <a:pt x="0" y="125"/>
                    </a:lnTo>
                    <a:lnTo>
                      <a:pt x="0" y="114"/>
                    </a:lnTo>
                    <a:lnTo>
                      <a:pt x="1" y="103"/>
                    </a:lnTo>
                    <a:lnTo>
                      <a:pt x="2" y="94"/>
                    </a:lnTo>
                    <a:lnTo>
                      <a:pt x="3" y="85"/>
                    </a:lnTo>
                    <a:lnTo>
                      <a:pt x="5" y="77"/>
                    </a:lnTo>
                    <a:lnTo>
                      <a:pt x="9" y="69"/>
                    </a:lnTo>
                    <a:lnTo>
                      <a:pt x="12" y="62"/>
                    </a:lnTo>
                    <a:lnTo>
                      <a:pt x="15" y="54"/>
                    </a:lnTo>
                    <a:lnTo>
                      <a:pt x="24" y="41"/>
                    </a:lnTo>
                    <a:lnTo>
                      <a:pt x="35" y="28"/>
                    </a:lnTo>
                    <a:lnTo>
                      <a:pt x="48" y="14"/>
                    </a:lnTo>
                    <a:lnTo>
                      <a:pt x="63" y="0"/>
                    </a:lnTo>
                    <a:lnTo>
                      <a:pt x="377" y="0"/>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5" name="Freeform 253"/>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6" name="Freeform 254"/>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7" name="Freeform 255"/>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8" name="Freeform 256"/>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9" name="Freeform 257"/>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0" name="Freeform 258"/>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1" name="Freeform 259"/>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2" name="Freeform 260"/>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3" name="Freeform 261"/>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4" name="Freeform 262"/>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5" name="Freeform 263"/>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6" name="Freeform 264"/>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7" name="Freeform 265"/>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8" name="Freeform 266"/>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9" name="Line 267"/>
              <p:cNvSpPr>
                <a:spLocks noChangeShapeType="1"/>
              </p:cNvSpPr>
              <p:nvPr/>
            </p:nvSpPr>
            <p:spPr bwMode="auto">
              <a:xfrm flipH="1" flipV="1">
                <a:off x="2935" y="3841"/>
                <a:ext cx="8" cy="30"/>
              </a:xfrm>
              <a:prstGeom prst="line">
                <a:avLst/>
              </a:prstGeom>
              <a:noFill/>
              <a:ln w="0">
                <a:solidFill>
                  <a:srgbClr val="949393"/>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0" name="Line 268"/>
              <p:cNvSpPr>
                <a:spLocks noChangeShapeType="1"/>
              </p:cNvSpPr>
              <p:nvPr/>
            </p:nvSpPr>
            <p:spPr bwMode="auto">
              <a:xfrm flipV="1">
                <a:off x="2763" y="3094"/>
                <a:ext cx="1" cy="67"/>
              </a:xfrm>
              <a:prstGeom prst="line">
                <a:avLst/>
              </a:prstGeom>
              <a:noFill/>
              <a:ln w="0">
                <a:solidFill>
                  <a:srgbClr val="949393"/>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1" name="Rectangle 269"/>
              <p:cNvSpPr>
                <a:spLocks noChangeArrowheads="1"/>
              </p:cNvSpPr>
              <p:nvPr/>
            </p:nvSpPr>
            <p:spPr bwMode="auto">
              <a:xfrm>
                <a:off x="2891" y="1074"/>
                <a:ext cx="14" cy="2613"/>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2" name="Line 270"/>
              <p:cNvSpPr>
                <a:spLocks noChangeShapeType="1"/>
              </p:cNvSpPr>
              <p:nvPr/>
            </p:nvSpPr>
            <p:spPr bwMode="auto">
              <a:xfrm>
                <a:off x="3939" y="1074"/>
                <a:ext cx="1" cy="2613"/>
              </a:xfrm>
              <a:prstGeom prst="line">
                <a:avLst/>
              </a:prstGeom>
              <a:noFill/>
              <a:ln w="3175">
                <a:solidFill>
                  <a:srgbClr val="1F1A17"/>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3" name="Rectangle 271"/>
              <p:cNvSpPr>
                <a:spLocks noChangeArrowheads="1"/>
              </p:cNvSpPr>
              <p:nvPr/>
            </p:nvSpPr>
            <p:spPr bwMode="auto">
              <a:xfrm>
                <a:off x="1812" y="1074"/>
                <a:ext cx="14" cy="2613"/>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4" name="Freeform 272"/>
              <p:cNvSpPr>
                <a:spLocks/>
              </p:cNvSpPr>
              <p:nvPr/>
            </p:nvSpPr>
            <p:spPr bwMode="auto">
              <a:xfrm>
                <a:off x="3586" y="2429"/>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5" name="Freeform 273"/>
              <p:cNvSpPr>
                <a:spLocks/>
              </p:cNvSpPr>
              <p:nvPr/>
            </p:nvSpPr>
            <p:spPr bwMode="auto">
              <a:xfrm>
                <a:off x="2497" y="2429"/>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6" name="Freeform 274"/>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7" name="Freeform 275"/>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8" name="Freeform 276"/>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9" name="Freeform 277"/>
              <p:cNvSpPr>
                <a:spLocks/>
              </p:cNvSpPr>
              <p:nvPr/>
            </p:nvSpPr>
            <p:spPr bwMode="auto">
              <a:xfrm>
                <a:off x="2511" y="3245"/>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0" name="Freeform 278"/>
              <p:cNvSpPr>
                <a:spLocks/>
              </p:cNvSpPr>
              <p:nvPr/>
            </p:nvSpPr>
            <p:spPr bwMode="auto">
              <a:xfrm>
                <a:off x="1454" y="3245"/>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1" name="Freeform 279"/>
              <p:cNvSpPr>
                <a:spLocks/>
              </p:cNvSpPr>
              <p:nvPr/>
            </p:nvSpPr>
            <p:spPr bwMode="auto">
              <a:xfrm>
                <a:off x="3586" y="3245"/>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2" name="Freeform 280"/>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3" name="Freeform 281"/>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close/>
                  </a:path>
                </a:pathLst>
              </a:custGeom>
              <a:solidFill>
                <a:srgbClr val="DEDEDD"/>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4" name="Freeform 282"/>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path>
                </a:pathLst>
              </a:custGeom>
              <a:noFill/>
              <a:ln w="0">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5" name="Freeform 283"/>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4" name="Group 284"/>
              <p:cNvGrpSpPr>
                <a:grpSpLocks/>
              </p:cNvGrpSpPr>
              <p:nvPr/>
            </p:nvGrpSpPr>
            <p:grpSpPr bwMode="auto">
              <a:xfrm>
                <a:off x="2490" y="1603"/>
                <a:ext cx="822" cy="759"/>
                <a:chOff x="2490" y="1603"/>
                <a:chExt cx="822" cy="759"/>
              </a:xfrm>
            </p:grpSpPr>
            <p:sp>
              <p:nvSpPr>
                <p:cNvPr id="1078557" name="Freeform 285"/>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8" name="Text Box 286"/>
                <p:cNvSpPr txBox="1">
                  <a:spLocks noChangeArrowheads="1"/>
                </p:cNvSpPr>
                <p:nvPr/>
              </p:nvSpPr>
              <p:spPr bwMode="auto">
                <a:xfrm>
                  <a:off x="2490" y="1748"/>
                  <a:ext cx="822" cy="522"/>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rocess Control  QC &amp; Specimen Management</a:t>
                  </a:r>
                </a:p>
              </p:txBody>
            </p:sp>
          </p:grpSp>
          <p:sp>
            <p:nvSpPr>
              <p:cNvPr id="1078559" name="Rectangle 287"/>
              <p:cNvSpPr>
                <a:spLocks noChangeArrowheads="1"/>
              </p:cNvSpPr>
              <p:nvPr/>
            </p:nvSpPr>
            <p:spPr bwMode="auto">
              <a:xfrm>
                <a:off x="1819" y="1057"/>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5" name="Group 288"/>
              <p:cNvGrpSpPr>
                <a:grpSpLocks/>
              </p:cNvGrpSpPr>
              <p:nvPr/>
            </p:nvGrpSpPr>
            <p:grpSpPr bwMode="auto">
              <a:xfrm>
                <a:off x="1357" y="1574"/>
                <a:ext cx="947" cy="759"/>
                <a:chOff x="1357" y="1574"/>
                <a:chExt cx="947" cy="759"/>
              </a:xfrm>
            </p:grpSpPr>
            <p:sp>
              <p:nvSpPr>
                <p:cNvPr id="1078561" name="Freeform 289"/>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2" name="Text Box 290"/>
                <p:cNvSpPr txBox="1">
                  <a:spLocks noChangeArrowheads="1"/>
                </p:cNvSpPr>
                <p:nvPr/>
              </p:nvSpPr>
              <p:spPr bwMode="auto">
                <a:xfrm>
                  <a:off x="1357" y="1798"/>
                  <a:ext cx="947"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urchasing &amp; Inventory</a:t>
                  </a:r>
                </a:p>
              </p:txBody>
            </p:sp>
          </p:grpSp>
          <p:sp>
            <p:nvSpPr>
              <p:cNvPr id="1078563" name="Freeform 291"/>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6" name="Group 292"/>
              <p:cNvGrpSpPr>
                <a:grpSpLocks/>
              </p:cNvGrpSpPr>
              <p:nvPr/>
            </p:nvGrpSpPr>
            <p:grpSpPr bwMode="auto">
              <a:xfrm>
                <a:off x="3549" y="2429"/>
                <a:ext cx="901" cy="759"/>
                <a:chOff x="3549" y="2294"/>
                <a:chExt cx="901" cy="759"/>
              </a:xfrm>
            </p:grpSpPr>
            <p:sp>
              <p:nvSpPr>
                <p:cNvPr id="1078565" name="Freeform 293"/>
                <p:cNvSpPr>
                  <a:spLocks/>
                </p:cNvSpPr>
                <p:nvPr/>
              </p:nvSpPr>
              <p:spPr bwMode="auto">
                <a:xfrm>
                  <a:off x="3586" y="2294"/>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6" name="Text Box 294"/>
                <p:cNvSpPr txBox="1">
                  <a:spLocks noChangeArrowheads="1"/>
                </p:cNvSpPr>
                <p:nvPr/>
              </p:nvSpPr>
              <p:spPr bwMode="auto">
                <a:xfrm>
                  <a:off x="3549" y="2535"/>
                  <a:ext cx="901" cy="221"/>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Assessmen</a:t>
                  </a:r>
                  <a:r>
                    <a:rPr lang="en-US" sz="1600" dirty="0">
                      <a:solidFill>
                        <a:srgbClr val="FFD911"/>
                      </a:solidFill>
                      <a:latin typeface="Arial" pitchFamily="34" charset="0"/>
                      <a:ea typeface="ＭＳ Ｐゴシック" pitchFamily="34" charset="-128"/>
                    </a:rPr>
                    <a:t>t</a:t>
                  </a:r>
                </a:p>
              </p:txBody>
            </p:sp>
          </p:grpSp>
          <p:grpSp>
            <p:nvGrpSpPr>
              <p:cNvPr id="7" name="Group 295"/>
              <p:cNvGrpSpPr>
                <a:grpSpLocks/>
              </p:cNvGrpSpPr>
              <p:nvPr/>
            </p:nvGrpSpPr>
            <p:grpSpPr bwMode="auto">
              <a:xfrm>
                <a:off x="2391" y="2429"/>
                <a:ext cx="1006" cy="759"/>
                <a:chOff x="2391" y="2294"/>
                <a:chExt cx="1006" cy="759"/>
              </a:xfrm>
            </p:grpSpPr>
            <p:sp>
              <p:nvSpPr>
                <p:cNvPr id="1078568" name="Freeform 296"/>
                <p:cNvSpPr>
                  <a:spLocks/>
                </p:cNvSpPr>
                <p:nvPr/>
              </p:nvSpPr>
              <p:spPr bwMode="auto">
                <a:xfrm>
                  <a:off x="2497" y="2294"/>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9" name="Text Box 297"/>
                <p:cNvSpPr txBox="1">
                  <a:spLocks noChangeArrowheads="1"/>
                </p:cNvSpPr>
                <p:nvPr/>
              </p:nvSpPr>
              <p:spPr bwMode="auto">
                <a:xfrm>
                  <a:off x="2391" y="2490"/>
                  <a:ext cx="1006"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Occurrence Management</a:t>
                  </a:r>
                </a:p>
              </p:txBody>
            </p:sp>
          </p:grpSp>
          <p:sp>
            <p:nvSpPr>
              <p:cNvPr id="1078570" name="Text Box 298"/>
              <p:cNvSpPr txBox="1">
                <a:spLocks noChangeArrowheads="1"/>
              </p:cNvSpPr>
              <p:nvPr/>
            </p:nvSpPr>
            <p:spPr bwMode="auto">
              <a:xfrm>
                <a:off x="3482" y="1791"/>
                <a:ext cx="1020"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Information</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Management</a:t>
                </a:r>
              </a:p>
            </p:txBody>
          </p:sp>
          <p:grpSp>
            <p:nvGrpSpPr>
              <p:cNvPr id="8" name="Group 299"/>
              <p:cNvGrpSpPr>
                <a:grpSpLocks/>
              </p:cNvGrpSpPr>
              <p:nvPr/>
            </p:nvGrpSpPr>
            <p:grpSpPr bwMode="auto">
              <a:xfrm>
                <a:off x="1319" y="3245"/>
                <a:ext cx="1035" cy="759"/>
                <a:chOff x="1319" y="3110"/>
                <a:chExt cx="1035" cy="759"/>
              </a:xfrm>
            </p:grpSpPr>
            <p:sp>
              <p:nvSpPr>
                <p:cNvPr id="1078572" name="Freeform 300"/>
                <p:cNvSpPr>
                  <a:spLocks/>
                </p:cNvSpPr>
                <p:nvPr/>
              </p:nvSpPr>
              <p:spPr bwMode="auto">
                <a:xfrm>
                  <a:off x="1454" y="3110"/>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3" name="Text Box 301"/>
                <p:cNvSpPr txBox="1">
                  <a:spLocks noChangeArrowheads="1"/>
                </p:cNvSpPr>
                <p:nvPr/>
              </p:nvSpPr>
              <p:spPr bwMode="auto">
                <a:xfrm>
                  <a:off x="1319" y="3290"/>
                  <a:ext cx="1035"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rocess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Improvement</a:t>
                  </a:r>
                </a:p>
              </p:txBody>
            </p:sp>
          </p:grpSp>
          <p:grpSp>
            <p:nvGrpSpPr>
              <p:cNvPr id="9" name="Group 302"/>
              <p:cNvGrpSpPr>
                <a:grpSpLocks/>
              </p:cNvGrpSpPr>
              <p:nvPr/>
            </p:nvGrpSpPr>
            <p:grpSpPr bwMode="auto">
              <a:xfrm>
                <a:off x="2487" y="3245"/>
                <a:ext cx="816" cy="759"/>
                <a:chOff x="2487" y="3110"/>
                <a:chExt cx="816" cy="759"/>
              </a:xfrm>
            </p:grpSpPr>
            <p:sp>
              <p:nvSpPr>
                <p:cNvPr id="1078575" name="Freeform 303"/>
                <p:cNvSpPr>
                  <a:spLocks/>
                </p:cNvSpPr>
                <p:nvPr/>
              </p:nvSpPr>
              <p:spPr bwMode="auto">
                <a:xfrm>
                  <a:off x="2511" y="3110"/>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6" name="Text Box 304"/>
                <p:cNvSpPr txBox="1">
                  <a:spLocks noChangeArrowheads="1"/>
                </p:cNvSpPr>
                <p:nvPr/>
              </p:nvSpPr>
              <p:spPr bwMode="auto">
                <a:xfrm>
                  <a:off x="2487" y="3323"/>
                  <a:ext cx="816" cy="367"/>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Customer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Service</a:t>
                  </a:r>
                </a:p>
              </p:txBody>
            </p:sp>
          </p:grpSp>
          <p:grpSp>
            <p:nvGrpSpPr>
              <p:cNvPr id="10" name="Group 305"/>
              <p:cNvGrpSpPr>
                <a:grpSpLocks/>
              </p:cNvGrpSpPr>
              <p:nvPr/>
            </p:nvGrpSpPr>
            <p:grpSpPr bwMode="auto">
              <a:xfrm>
                <a:off x="3553" y="3245"/>
                <a:ext cx="816" cy="759"/>
                <a:chOff x="3553" y="3110"/>
                <a:chExt cx="816" cy="759"/>
              </a:xfrm>
            </p:grpSpPr>
            <p:sp>
              <p:nvSpPr>
                <p:cNvPr id="1078578" name="Freeform 306"/>
                <p:cNvSpPr>
                  <a:spLocks/>
                </p:cNvSpPr>
                <p:nvPr/>
              </p:nvSpPr>
              <p:spPr bwMode="auto">
                <a:xfrm>
                  <a:off x="3586" y="3110"/>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9" name="Text Box 307"/>
                <p:cNvSpPr txBox="1">
                  <a:spLocks noChangeArrowheads="1"/>
                </p:cNvSpPr>
                <p:nvPr/>
              </p:nvSpPr>
              <p:spPr bwMode="auto">
                <a:xfrm>
                  <a:off x="3553" y="3333"/>
                  <a:ext cx="816" cy="367"/>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Facilities &amp;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Safety</a:t>
                  </a:r>
                </a:p>
              </p:txBody>
            </p:sp>
          </p:grpSp>
          <p:grpSp>
            <p:nvGrpSpPr>
              <p:cNvPr id="11" name="Group 308"/>
              <p:cNvGrpSpPr>
                <a:grpSpLocks/>
              </p:cNvGrpSpPr>
              <p:nvPr/>
            </p:nvGrpSpPr>
            <p:grpSpPr bwMode="auto">
              <a:xfrm>
                <a:off x="1410" y="709"/>
                <a:ext cx="831" cy="759"/>
                <a:chOff x="1410" y="709"/>
                <a:chExt cx="831" cy="759"/>
              </a:xfrm>
            </p:grpSpPr>
            <p:grpSp>
              <p:nvGrpSpPr>
                <p:cNvPr id="12" name="Group 309"/>
                <p:cNvGrpSpPr>
                  <a:grpSpLocks/>
                </p:cNvGrpSpPr>
                <p:nvPr/>
              </p:nvGrpSpPr>
              <p:grpSpPr bwMode="auto">
                <a:xfrm>
                  <a:off x="1410" y="709"/>
                  <a:ext cx="816" cy="759"/>
                  <a:chOff x="1410" y="574"/>
                  <a:chExt cx="816" cy="759"/>
                </a:xfrm>
              </p:grpSpPr>
              <p:grpSp>
                <p:nvGrpSpPr>
                  <p:cNvPr id="13" name="Group 310"/>
                  <p:cNvGrpSpPr>
                    <a:grpSpLocks/>
                  </p:cNvGrpSpPr>
                  <p:nvPr/>
                </p:nvGrpSpPr>
                <p:grpSpPr bwMode="auto">
                  <a:xfrm>
                    <a:off x="1444" y="574"/>
                    <a:ext cx="759" cy="759"/>
                    <a:chOff x="1444" y="574"/>
                    <a:chExt cx="759" cy="759"/>
                  </a:xfrm>
                </p:grpSpPr>
                <p:sp>
                  <p:nvSpPr>
                    <p:cNvPr id="1078583" name="Freeform 311"/>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4" name="Freeform 312"/>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85" name="Text Box 313"/>
                  <p:cNvSpPr txBox="1">
                    <a:spLocks noChangeArrowheads="1"/>
                  </p:cNvSpPr>
                  <p:nvPr/>
                </p:nvSpPr>
                <p:spPr bwMode="auto">
                  <a:xfrm>
                    <a:off x="1410" y="750"/>
                    <a:ext cx="816" cy="230"/>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endParaRPr lang="en-US">
                      <a:solidFill>
                        <a:prstClr val="black"/>
                      </a:solidFill>
                      <a:latin typeface="Arial" pitchFamily="34" charset="0"/>
                      <a:ea typeface="ＭＳ Ｐゴシック" pitchFamily="34" charset="-128"/>
                    </a:endParaRPr>
                  </a:p>
                </p:txBody>
              </p:sp>
            </p:grpSp>
            <p:sp>
              <p:nvSpPr>
                <p:cNvPr id="1078586" name="Text Box 314"/>
                <p:cNvSpPr txBox="1">
                  <a:spLocks noChangeArrowheads="1"/>
                </p:cNvSpPr>
                <p:nvPr/>
              </p:nvSpPr>
              <p:spPr bwMode="auto">
                <a:xfrm>
                  <a:off x="1425" y="976"/>
                  <a:ext cx="816" cy="213"/>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Organization</a:t>
                  </a:r>
                </a:p>
              </p:txBody>
            </p:sp>
          </p:grpSp>
          <p:grpSp>
            <p:nvGrpSpPr>
              <p:cNvPr id="14" name="Group 315"/>
              <p:cNvGrpSpPr>
                <a:grpSpLocks/>
              </p:cNvGrpSpPr>
              <p:nvPr/>
            </p:nvGrpSpPr>
            <p:grpSpPr bwMode="auto">
              <a:xfrm>
                <a:off x="2484" y="709"/>
                <a:ext cx="816" cy="759"/>
                <a:chOff x="2484" y="709"/>
                <a:chExt cx="816" cy="759"/>
              </a:xfrm>
            </p:grpSpPr>
            <p:sp>
              <p:nvSpPr>
                <p:cNvPr id="1078588" name="Freeform 316"/>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9" name="Text Box 317"/>
                <p:cNvSpPr txBox="1">
                  <a:spLocks noChangeArrowheads="1"/>
                </p:cNvSpPr>
                <p:nvPr/>
              </p:nvSpPr>
              <p:spPr bwMode="auto">
                <a:xfrm>
                  <a:off x="2484" y="977"/>
                  <a:ext cx="816" cy="213"/>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ersonnel</a:t>
                  </a:r>
                </a:p>
              </p:txBody>
            </p:sp>
          </p:grpSp>
          <p:grpSp>
            <p:nvGrpSpPr>
              <p:cNvPr id="15" name="Group 318"/>
              <p:cNvGrpSpPr>
                <a:grpSpLocks/>
              </p:cNvGrpSpPr>
              <p:nvPr/>
            </p:nvGrpSpPr>
            <p:grpSpPr bwMode="auto">
              <a:xfrm>
                <a:off x="3492" y="709"/>
                <a:ext cx="942" cy="759"/>
                <a:chOff x="3492" y="709"/>
                <a:chExt cx="942" cy="759"/>
              </a:xfrm>
            </p:grpSpPr>
            <p:grpSp>
              <p:nvGrpSpPr>
                <p:cNvPr id="16" name="Group 319"/>
                <p:cNvGrpSpPr>
                  <a:grpSpLocks/>
                </p:cNvGrpSpPr>
                <p:nvPr/>
              </p:nvGrpSpPr>
              <p:grpSpPr bwMode="auto">
                <a:xfrm>
                  <a:off x="3586" y="709"/>
                  <a:ext cx="759" cy="759"/>
                  <a:chOff x="3586" y="574"/>
                  <a:chExt cx="759" cy="759"/>
                </a:xfrm>
              </p:grpSpPr>
              <p:sp>
                <p:nvSpPr>
                  <p:cNvPr id="1078592" name="Freeform 320"/>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3" name="Freeform 321"/>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94" name="Text Box 322"/>
                <p:cNvSpPr txBox="1">
                  <a:spLocks noChangeArrowheads="1"/>
                </p:cNvSpPr>
                <p:nvPr/>
              </p:nvSpPr>
              <p:spPr bwMode="auto">
                <a:xfrm>
                  <a:off x="3492" y="985"/>
                  <a:ext cx="942" cy="213"/>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Equipment</a:t>
                  </a:r>
                </a:p>
              </p:txBody>
            </p:sp>
          </p:grpSp>
          <p:grpSp>
            <p:nvGrpSpPr>
              <p:cNvPr id="17" name="Group 323"/>
              <p:cNvGrpSpPr>
                <a:grpSpLocks/>
              </p:cNvGrpSpPr>
              <p:nvPr/>
            </p:nvGrpSpPr>
            <p:grpSpPr bwMode="auto">
              <a:xfrm>
                <a:off x="1408" y="2429"/>
                <a:ext cx="862" cy="759"/>
                <a:chOff x="1408" y="2429"/>
                <a:chExt cx="862" cy="759"/>
              </a:xfrm>
            </p:grpSpPr>
            <p:sp>
              <p:nvSpPr>
                <p:cNvPr id="1078596" name="Freeform 324"/>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7" name="Text Box 325"/>
                <p:cNvSpPr txBox="1">
                  <a:spLocks noChangeArrowheads="1"/>
                </p:cNvSpPr>
                <p:nvPr/>
              </p:nvSpPr>
              <p:spPr bwMode="auto">
                <a:xfrm>
                  <a:off x="1408" y="2609"/>
                  <a:ext cx="862"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Documents &amp; Records</a:t>
                  </a:r>
                </a:p>
              </p:txBody>
            </p:sp>
          </p:grpSp>
        </p:grpSp>
      </p:grpSp>
      <p:sp>
        <p:nvSpPr>
          <p:cNvPr id="18" name="Rectangle 17"/>
          <p:cNvSpPr/>
          <p:nvPr/>
        </p:nvSpPr>
        <p:spPr>
          <a:xfrm>
            <a:off x="263383" y="1428550"/>
            <a:ext cx="4155551" cy="1938992"/>
          </a:xfrm>
          <a:prstGeom prst="rect">
            <a:avLst/>
          </a:prstGeom>
        </p:spPr>
        <p:txBody>
          <a:bodyPr wrap="square">
            <a:spAutoFit/>
          </a:bodyPr>
          <a:lstStyle/>
          <a:p>
            <a:pPr defTabSz="457200" fontAlgn="base">
              <a:spcBef>
                <a:spcPct val="0"/>
              </a:spcBef>
              <a:spcAft>
                <a:spcPct val="0"/>
              </a:spcAft>
            </a:pPr>
            <a:endParaRPr lang="en-US" sz="2000" dirty="0">
              <a:solidFill>
                <a:prstClr val="black"/>
              </a:solidFill>
              <a:ea typeface="ＭＳ Ｐゴシック" pitchFamily="34" charset="-128"/>
            </a:endParaRPr>
          </a:p>
          <a:p>
            <a:pPr defTabSz="457200" fontAlgn="base">
              <a:spcBef>
                <a:spcPct val="0"/>
              </a:spcBef>
              <a:spcAft>
                <a:spcPct val="0"/>
              </a:spcAft>
            </a:pPr>
            <a:r>
              <a:rPr lang="en-US" sz="2000" dirty="0">
                <a:solidFill>
                  <a:prstClr val="black"/>
                </a:solidFill>
                <a:ea typeface="ＭＳ Ｐゴシック" pitchFamily="34" charset="-128"/>
              </a:rPr>
              <a:t>The organizational structure, responsibilities, processes, procedures, and resources for implementing quality management of the laboratory or testing site. </a:t>
            </a:r>
          </a:p>
        </p:txBody>
      </p:sp>
      <p:sp>
        <p:nvSpPr>
          <p:cNvPr id="85" name="Oval 84">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87" name="Rectangle 86"/>
          <p:cNvSpPr/>
          <p:nvPr/>
        </p:nvSpPr>
        <p:spPr>
          <a:xfrm>
            <a:off x="247144" y="4449062"/>
            <a:ext cx="4155551" cy="1323439"/>
          </a:xfrm>
          <a:prstGeom prst="rect">
            <a:avLst/>
          </a:prstGeom>
        </p:spPr>
        <p:txBody>
          <a:bodyPr wrap="square">
            <a:spAutoFit/>
          </a:bodyPr>
          <a:lstStyle/>
          <a:p>
            <a:pPr defTabSz="457200" fontAlgn="base">
              <a:spcBef>
                <a:spcPct val="0"/>
              </a:spcBef>
              <a:spcAft>
                <a:spcPct val="0"/>
              </a:spcAft>
            </a:pPr>
            <a:endParaRPr lang="en-US" sz="2000" dirty="0">
              <a:solidFill>
                <a:prstClr val="black"/>
              </a:solidFill>
              <a:ea typeface="ＭＳ Ｐゴシック" pitchFamily="34" charset="-128"/>
            </a:endParaRPr>
          </a:p>
          <a:p>
            <a:pPr defTabSz="457200" fontAlgn="base">
              <a:spcBef>
                <a:spcPct val="0"/>
              </a:spcBef>
              <a:spcAft>
                <a:spcPct val="0"/>
              </a:spcAft>
            </a:pPr>
            <a:r>
              <a:rPr lang="en-US" sz="2000" dirty="0">
                <a:solidFill>
                  <a:srgbClr val="FF0000"/>
                </a:solidFill>
              </a:rPr>
              <a:t>In other words…</a:t>
            </a:r>
            <a:r>
              <a:rPr lang="en-US" sz="2000" i="1" dirty="0">
                <a:solidFill>
                  <a:srgbClr val="FF0000"/>
                </a:solidFill>
              </a:rPr>
              <a:t>all activities contribute to the quality of testing, directly or indirectly! </a:t>
            </a:r>
            <a:endParaRPr lang="en-US" sz="2000" i="1" dirty="0">
              <a:solidFill>
                <a:prstClr val="black"/>
              </a:solidFill>
            </a:endParaRPr>
          </a:p>
        </p:txBody>
      </p:sp>
    </p:spTree>
    <p:extLst>
      <p:ext uri="{BB962C8B-B14F-4D97-AF65-F5344CB8AC3E}">
        <p14:creationId xmlns:p14="http://schemas.microsoft.com/office/powerpoint/2010/main" val="1973689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3.xml><?xml version="1.0" encoding="utf-8"?>
<p:tagLst xmlns:a="http://schemas.openxmlformats.org/drawingml/2006/main" xmlns:r="http://schemas.openxmlformats.org/officeDocument/2006/relationships" xmlns:p="http://schemas.openxmlformats.org/presentationml/2006/main">
  <p:tag name="RESIZE" val="Yes"/>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9.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5.xml><?xml version="1.0" encoding="utf-8"?>
<p:tagLst xmlns:a="http://schemas.openxmlformats.org/drawingml/2006/main" xmlns:r="http://schemas.openxmlformats.org/officeDocument/2006/relationships" xmlns:p="http://schemas.openxmlformats.org/presentationml/2006/main">
  <p:tag name="RESIZE" val="Yes"/>
</p:tagLst>
</file>

<file path=ppt/tags/tag136.xml><?xml version="1.0" encoding="utf-8"?>
<p:tagLst xmlns:a="http://schemas.openxmlformats.org/drawingml/2006/main" xmlns:r="http://schemas.openxmlformats.org/officeDocument/2006/relationships" xmlns:p="http://schemas.openxmlformats.org/presentationml/2006/main">
  <p:tag name="RESIZE" val="Yes"/>
</p:tagLst>
</file>

<file path=ppt/tags/tag137.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RESIZE" val="Yes"/>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C EID Training PPT Template</Template>
  <TotalTime>1620</TotalTime>
  <Words>3555</Words>
  <Application>Microsoft Office PowerPoint</Application>
  <PresentationFormat>Custom</PresentationFormat>
  <Paragraphs>809</Paragraphs>
  <Slides>50</Slides>
  <Notes>43</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4</vt:i4>
      </vt:variant>
      <vt:variant>
        <vt:lpstr>Slide Titles</vt:lpstr>
      </vt:variant>
      <vt:variant>
        <vt:i4>50</vt:i4>
      </vt:variant>
    </vt:vector>
  </HeadingPairs>
  <TitlesOfParts>
    <vt:vector size="79" baseType="lpstr">
      <vt:lpstr>ＭＳ 明朝</vt:lpstr>
      <vt:lpstr>MS PGothic</vt:lpstr>
      <vt:lpstr>MS PGothic</vt:lpstr>
      <vt:lpstr>Arabic Typesetting</vt:lpstr>
      <vt:lpstr>Arial</vt:lpstr>
      <vt:lpstr>Arial Black</vt:lpstr>
      <vt:lpstr>Calibri</vt:lpstr>
      <vt:lpstr>Franklin Gothic Book</vt:lpstr>
      <vt:lpstr>Georgia</vt:lpstr>
      <vt:lpstr>Helvetica</vt:lpstr>
      <vt:lpstr>Helvetica-Bold</vt:lpstr>
      <vt:lpstr>Marlett</vt:lpstr>
      <vt:lpstr>Times New Roman</vt:lpstr>
      <vt:lpstr>Trebuchet MS</vt:lpstr>
      <vt:lpstr>Verdana</vt:lpstr>
      <vt:lpstr>Wingdings</vt:lpstr>
      <vt:lpstr>Wingdings 3</vt:lpstr>
      <vt:lpstr>ヒラギノ角ゴ Pro W3</vt:lpstr>
      <vt:lpstr>POC EID Training PPT Template</vt:lpstr>
      <vt:lpstr>Theme1 CHAI</vt:lpstr>
      <vt:lpstr>Office Theme</vt:lpstr>
      <vt:lpstr>1_Office Theme</vt:lpstr>
      <vt:lpstr>2_Office Theme</vt:lpstr>
      <vt:lpstr>3_Office Theme</vt:lpstr>
      <vt:lpstr>4_Office Theme</vt:lpstr>
      <vt:lpstr>think-cell Slide</vt:lpstr>
      <vt:lpstr>Chart</vt:lpstr>
      <vt:lpstr>CorelDRAW</vt:lpstr>
      <vt:lpstr>Clip</vt:lpstr>
      <vt:lpstr>Assuring Quality Testing Module 2: Lab Systems and POC Testing   </vt:lpstr>
      <vt:lpstr>Agenda</vt:lpstr>
      <vt:lpstr>Learning Objectives</vt:lpstr>
      <vt:lpstr>Agenda</vt:lpstr>
      <vt:lpstr>Facilities need strong lab systems to sustain quality POC testing</vt:lpstr>
      <vt:lpstr> What Is “Quality?”</vt:lpstr>
      <vt:lpstr>Why do we care about quality?</vt:lpstr>
      <vt:lpstr> What is a ‘Systems Approach’ to quality? </vt:lpstr>
      <vt:lpstr> The Laboratory Quality System</vt:lpstr>
      <vt:lpstr> Who is responsible for quality?</vt:lpstr>
      <vt:lpstr>Comparison of QA approaches for POC testing </vt:lpstr>
      <vt:lpstr> Quality Assurance vs. Quality Control</vt:lpstr>
      <vt:lpstr> Why do errors occur? </vt:lpstr>
      <vt:lpstr>PowerPoint Presentation</vt:lpstr>
      <vt:lpstr> Trouble shooting errors </vt:lpstr>
      <vt:lpstr>Site supervision and mentorship help to identify testing issues early in order to take  corrective and preventive actions</vt:lpstr>
      <vt:lpstr> Summary: Why is a Quality System important for POC testing? </vt:lpstr>
      <vt:lpstr>Agenda</vt:lpstr>
      <vt:lpstr> What is a biohazard and why is it important to take safety precautions in the lab?</vt:lpstr>
      <vt:lpstr>What are universal or standard precautions? </vt:lpstr>
      <vt:lpstr>Apply safety practices throughout the testing process</vt:lpstr>
      <vt:lpstr>Develop safe work habits</vt:lpstr>
      <vt:lpstr>Develop safe work habits (cont.)</vt:lpstr>
      <vt:lpstr>Develop safe work habits (cont.)</vt:lpstr>
      <vt:lpstr>Develop safe work habits (cont.)</vt:lpstr>
      <vt:lpstr>PowerPoint Presentation</vt:lpstr>
      <vt:lpstr> Personal Protective Equipment (PPE) can prevent contamination </vt:lpstr>
      <vt:lpstr> General safety equipment</vt:lpstr>
      <vt:lpstr> Maintain a clean working area and work surfaces</vt:lpstr>
      <vt:lpstr>Disinfect work areas with bleach</vt:lpstr>
      <vt:lpstr>Sharps and waste containers – Don’ts </vt:lpstr>
      <vt:lpstr>Good practice for handling sharps </vt:lpstr>
      <vt:lpstr> Emergency Response – spill and splash</vt:lpstr>
      <vt:lpstr> What to do in the event of contamination </vt:lpstr>
      <vt:lpstr> Waste management</vt:lpstr>
      <vt:lpstr>PowerPoint Presentation</vt:lpstr>
      <vt:lpstr> Incineration of waste</vt:lpstr>
      <vt:lpstr> Reminders</vt:lpstr>
      <vt:lpstr>Agenda</vt:lpstr>
      <vt:lpstr> Data/record management </vt:lpstr>
      <vt:lpstr>Connectivity provides visibility to monitor and manage the performance of POC devices,  and speeds result transmission from centralized testing sites back to the facility </vt:lpstr>
      <vt:lpstr>Agenda</vt:lpstr>
      <vt:lpstr>Supply chain management</vt:lpstr>
      <vt:lpstr>Error and service reports </vt:lpstr>
      <vt:lpstr>Summary </vt:lpstr>
      <vt:lpstr>Questions?</vt:lpstr>
      <vt:lpstr> Pre-testing Errors</vt:lpstr>
      <vt:lpstr> Testing Errors</vt:lpstr>
      <vt:lpstr> Post-testing Erro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Upjeet Chandan</cp:lastModifiedBy>
  <cp:revision>64</cp:revision>
  <dcterms:created xsi:type="dcterms:W3CDTF">2019-01-17T21:22:04Z</dcterms:created>
  <dcterms:modified xsi:type="dcterms:W3CDTF">2019-05-20T19:10:17Z</dcterms:modified>
</cp:coreProperties>
</file>